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rts/chart22.xml" ContentType="application/vnd.openxmlformats-officedocument.drawingml.chart+xml"/>
  <Override PartName="/ppt/drawings/drawing1.xml" ContentType="application/vnd.openxmlformats-officedocument.drawingml.chartshapes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drawings/drawing2.xml" ContentType="application/vnd.openxmlformats-officedocument.drawingml.chartshape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30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31.xml" ContentType="application/vnd.openxmlformats-officedocument.drawingml.chart+xml"/>
  <Override PartName="/ppt/drawings/drawing3.xml" ContentType="application/vnd.openxmlformats-officedocument.drawingml.chartshapes+xml"/>
  <Override PartName="/ppt/charts/chart3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4" r:id="rId1"/>
    <p:sldMasterId id="2147483862" r:id="rId2"/>
    <p:sldMasterId id="2147483874" r:id="rId3"/>
  </p:sldMasterIdLst>
  <p:notesMasterIdLst>
    <p:notesMasterId r:id="rId34"/>
  </p:notesMasterIdLst>
  <p:handoutMasterIdLst>
    <p:handoutMasterId r:id="rId35"/>
  </p:handoutMasterIdLst>
  <p:sldIdLst>
    <p:sldId id="347" r:id="rId4"/>
    <p:sldId id="459" r:id="rId5"/>
    <p:sldId id="460" r:id="rId6"/>
    <p:sldId id="461" r:id="rId7"/>
    <p:sldId id="466" r:id="rId8"/>
    <p:sldId id="469" r:id="rId9"/>
    <p:sldId id="462" r:id="rId10"/>
    <p:sldId id="470" r:id="rId11"/>
    <p:sldId id="464" r:id="rId12"/>
    <p:sldId id="450" r:id="rId13"/>
    <p:sldId id="448" r:id="rId14"/>
    <p:sldId id="449" r:id="rId15"/>
    <p:sldId id="465" r:id="rId16"/>
    <p:sldId id="468" r:id="rId17"/>
    <p:sldId id="434" r:id="rId18"/>
    <p:sldId id="467" r:id="rId19"/>
    <p:sldId id="440" r:id="rId20"/>
    <p:sldId id="472" r:id="rId21"/>
    <p:sldId id="471" r:id="rId22"/>
    <p:sldId id="475" r:id="rId23"/>
    <p:sldId id="477" r:id="rId24"/>
    <p:sldId id="474" r:id="rId25"/>
    <p:sldId id="473" r:id="rId26"/>
    <p:sldId id="441" r:id="rId27"/>
    <p:sldId id="443" r:id="rId28"/>
    <p:sldId id="480" r:id="rId29"/>
    <p:sldId id="479" r:id="rId30"/>
    <p:sldId id="476" r:id="rId31"/>
    <p:sldId id="379" r:id="rId32"/>
    <p:sldId id="374" r:id="rId33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onstantia" pitchFamily="18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3333FF"/>
    <a:srgbClr val="996600"/>
    <a:srgbClr val="FF9933"/>
    <a:srgbClr val="99CCFF"/>
    <a:srgbClr val="FF3300"/>
    <a:srgbClr val="CC0066"/>
    <a:srgbClr val="FFFFCC"/>
    <a:srgbClr val="8D1DE1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91886" autoAdjust="0"/>
  </p:normalViewPr>
  <p:slideViewPr>
    <p:cSldViewPr snapToGrid="0">
      <p:cViewPr>
        <p:scale>
          <a:sx n="100" d="100"/>
          <a:sy n="100" d="100"/>
        </p:scale>
        <p:origin x="-2028" y="-2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6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8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ownloads\&#1057;&#1042;&#1054;&#1044;%20&#1088;&#1072;&#1089;&#1096;&#1080;&#1092;&#1088;&#1086;&#1074;&#1082;&#1080;%20&#1087;&#1088;&#1086;&#1077;&#1082;&#1090;&#1072;%20&#1073;&#1102;&#1076;&#1078;&#1077;&#1090;&#1072;%202020-2022.xlsx" TargetMode="External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11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oleObject" Target="&#1044;&#1080;&#1072;&#1075;&#1088;&#1072;&#1084;&#1084;&#1072;%20&#1074;%20Microsoft%20Office%20PowerPoint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5;&#1080;&#1077;&#1076;&#1086;&#1082;&#1091;&#1084;&#1077;&#1085;&#1090;&#1099;\&#1041;&#1102;&#1076;&#1078;&#1077;&#1090;%202020\&#1055;&#1088;&#1086;&#1077;&#1082;&#1090;%20&#1073;&#1102;&#1076;&#1078;&#1077;&#1090;&#1072;%202020\&#1056;&#1072;&#1089;&#1096;&#1080;&#1092;&#1088;&#1086;&#1074;&#1082;&#1080;%20&#1087;&#1088;&#1086;&#1077;&#1082;&#1090;&#1072;%20&#1073;&#1102;&#1076;&#1078;&#1077;&#1090;&#1072;%202020-2022%20&#1089;&#1074;&#1086;&#1076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0911831475611001"/>
          <c:y val="2.9100529100529089E-2"/>
          <c:w val="0.61648969844434764"/>
          <c:h val="0.9417989417989415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Консолидированные доходы'!$B$1</c:f>
              <c:strCache>
                <c:ptCount val="1"/>
                <c:pt idx="0">
                  <c:v>Поступления в краевой и федеральный бюджеты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strRef>
              <c:f>'Консолидированные доходы'!$A$2:$A$10</c:f>
              <c:strCache>
                <c:ptCount val="9"/>
                <c:pt idx="0">
                  <c:v>Госпошлина</c:v>
                </c:pt>
                <c:pt idx="1">
                  <c:v>Налог на имущество физических лиц</c:v>
                </c:pt>
                <c:pt idx="2">
                  <c:v>Транспортный налог</c:v>
                </c:pt>
                <c:pt idx="3">
                  <c:v>Земельный налог</c:v>
                </c:pt>
                <c:pt idx="4">
                  <c:v>Налог на имущество организаций</c:v>
                </c:pt>
                <c:pt idx="5">
                  <c:v>Налог на прибыль оргнизаций</c:v>
                </c:pt>
                <c:pt idx="6">
                  <c:v>Налог на совокупный доход</c:v>
                </c:pt>
                <c:pt idx="7">
                  <c:v>НДС</c:v>
                </c:pt>
                <c:pt idx="8">
                  <c:v>НДФЛ</c:v>
                </c:pt>
              </c:strCache>
            </c:strRef>
          </c:cat>
          <c:val>
            <c:numRef>
              <c:f>'Консолидированные доходы'!$B$2:$B$10</c:f>
              <c:numCache>
                <c:formatCode>General</c:formatCode>
                <c:ptCount val="9"/>
                <c:pt idx="2">
                  <c:v>164.3</c:v>
                </c:pt>
                <c:pt idx="4">
                  <c:v>363.2</c:v>
                </c:pt>
                <c:pt idx="5">
                  <c:v>884.2</c:v>
                </c:pt>
                <c:pt idx="6">
                  <c:v>705.1</c:v>
                </c:pt>
                <c:pt idx="7">
                  <c:v>2262.6</c:v>
                </c:pt>
                <c:pt idx="8">
                  <c:v>2235</c:v>
                </c:pt>
              </c:numCache>
            </c:numRef>
          </c:val>
        </c:ser>
        <c:ser>
          <c:idx val="1"/>
          <c:order val="1"/>
          <c:tx>
            <c:strRef>
              <c:f>'Консолидированные доходы'!$C$1</c:f>
              <c:strCache>
                <c:ptCount val="1"/>
                <c:pt idx="0">
                  <c:v>Поступления в бюджет города Пятигорска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6.2337662337662546E-2"/>
                  <c:y val="-2.35571260306242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5.7142857142857162E-2"/>
                  <c:y val="-2.35571260306242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6.406926406926408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6.7917204793845512E-2"/>
                  <c:y val="4.71142520612485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0.11691287516099116"/>
                  <c:y val="2.35571260306242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>
                    <a:solidFill>
                      <a:srgbClr val="3333FF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Консолидированные доходы'!$A$2:$A$10</c:f>
              <c:strCache>
                <c:ptCount val="9"/>
                <c:pt idx="0">
                  <c:v>Госпошлина</c:v>
                </c:pt>
                <c:pt idx="1">
                  <c:v>Налог на имущество физических лиц</c:v>
                </c:pt>
                <c:pt idx="2">
                  <c:v>Транспортный налог</c:v>
                </c:pt>
                <c:pt idx="3">
                  <c:v>Земельный налог</c:v>
                </c:pt>
                <c:pt idx="4">
                  <c:v>Налог на имущество организаций</c:v>
                </c:pt>
                <c:pt idx="5">
                  <c:v>Налог на прибыль оргнизаций</c:v>
                </c:pt>
                <c:pt idx="6">
                  <c:v>Налог на совокупный доход</c:v>
                </c:pt>
                <c:pt idx="7">
                  <c:v>НДС</c:v>
                </c:pt>
                <c:pt idx="8">
                  <c:v>НДФЛ</c:v>
                </c:pt>
              </c:strCache>
            </c:strRef>
          </c:cat>
          <c:val>
            <c:numRef>
              <c:f>'Консолидированные доходы'!$C$2:$C$10</c:f>
              <c:numCache>
                <c:formatCode>General</c:formatCode>
                <c:ptCount val="9"/>
                <c:pt idx="0">
                  <c:v>24.9</c:v>
                </c:pt>
                <c:pt idx="1">
                  <c:v>115.6</c:v>
                </c:pt>
                <c:pt idx="3">
                  <c:v>172.8</c:v>
                </c:pt>
                <c:pt idx="6">
                  <c:v>197</c:v>
                </c:pt>
                <c:pt idx="8">
                  <c:v>615.799999999999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5535616"/>
        <c:axId val="159576064"/>
      </c:barChart>
      <c:catAx>
        <c:axId val="155535616"/>
        <c:scaling>
          <c:orientation val="minMax"/>
        </c:scaling>
        <c:delete val="1"/>
        <c:axPos val="l"/>
        <c:majorTickMark val="out"/>
        <c:minorTickMark val="none"/>
        <c:tickLblPos val="nextTo"/>
        <c:crossAx val="159576064"/>
        <c:crosses val="autoZero"/>
        <c:auto val="1"/>
        <c:lblAlgn val="ctr"/>
        <c:lblOffset val="100"/>
        <c:noMultiLvlLbl val="0"/>
      </c:catAx>
      <c:valAx>
        <c:axId val="1595760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5535616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2400" b="1">
                <a:solidFill>
                  <a:srgbClr val="FFFF00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2400" b="1">
                <a:solidFill>
                  <a:srgbClr val="3333FF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49981593209939773"/>
          <c:y val="0.34851859065320157"/>
          <c:w val="0.49769178852643414"/>
          <c:h val="0.65064003042022878"/>
        </c:manualLayout>
      </c:layout>
      <c:overlay val="0"/>
      <c:txPr>
        <a:bodyPr/>
        <a:lstStyle/>
        <a:p>
          <a:pPr>
            <a:defRPr sz="240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91767825753416"/>
          <c:y val="0.15317270969871277"/>
          <c:w val="0.80490856860885263"/>
          <c:h val="0.67236382877290024"/>
        </c:manualLayout>
      </c:layout>
      <c:doughnutChart>
        <c:varyColors val="1"/>
        <c:ser>
          <c:idx val="0"/>
          <c:order val="0"/>
          <c:tx>
            <c:strRef>
              <c:f>'Безвозмездные поступления'!$H$4</c:f>
              <c:strCache>
                <c:ptCount val="1"/>
                <c:pt idx="0">
                  <c:v>7%</c:v>
                </c:pt>
              </c:strCache>
            </c:strRef>
          </c:tx>
          <c:dPt>
            <c:idx val="0"/>
            <c:bubble3D val="0"/>
            <c:spPr>
              <a:solidFill>
                <a:schemeClr val="tx2">
                  <a:lumMod val="10000"/>
                </a:schemeClr>
              </a:solidFill>
            </c:spPr>
          </c:dPt>
          <c:dPt>
            <c:idx val="1"/>
            <c:bubble3D val="0"/>
            <c:spPr>
              <a:solidFill>
                <a:schemeClr val="tx2">
                  <a:lumMod val="25000"/>
                </a:schemeClr>
              </a:solidFill>
            </c:spPr>
          </c:dPt>
          <c:dPt>
            <c:idx val="2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3"/>
            <c:bubble3D val="0"/>
            <c:spPr>
              <a:solidFill>
                <a:schemeClr val="tx2">
                  <a:lumMod val="75000"/>
                </a:schemeClr>
              </a:solidFill>
            </c:spPr>
          </c:dPt>
          <c:dLbls>
            <c:dLbl>
              <c:idx val="0"/>
              <c:layout>
                <c:manualLayout>
                  <c:x val="-9.5579438429406575E-3"/>
                  <c:y val="-3.9920159680638723E-2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5045794090782408E-2"/>
                  <c:y val="-3.9920159680638723E-2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val>
            <c:numRef>
              <c:f>'Безвозмездные поступления'!$H$4:$K$4</c:f>
              <c:numCache>
                <c:formatCode>0%</c:formatCode>
                <c:ptCount val="4"/>
                <c:pt idx="0">
                  <c:v>7.0184463878885883E-2</c:v>
                </c:pt>
                <c:pt idx="1">
                  <c:v>1.5947673991327991E-2</c:v>
                </c:pt>
                <c:pt idx="2">
                  <c:v>0.19916219592856618</c:v>
                </c:pt>
                <c:pt idx="3">
                  <c:v>0.714705666201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Безвозмездные поступления'!$C$1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ln w="82550">
              <a:solidFill>
                <a:schemeClr val="accent6">
                  <a:lumMod val="50000"/>
                </a:schemeClr>
              </a:solidFill>
            </a:ln>
          </c:spPr>
          <c:marker>
            <c:symbol val="circle"/>
            <c:size val="14"/>
            <c:spPr>
              <a:solidFill>
                <a:schemeClr val="accent6">
                  <a:lumMod val="50000"/>
                </a:schemeClr>
              </a:solidFill>
            </c:spPr>
          </c:marker>
          <c:dLbls>
            <c:dLbl>
              <c:idx val="0"/>
              <c:layout>
                <c:manualLayout>
                  <c:x val="-7.5226977950713592E-2"/>
                  <c:y val="-0.2568807339449558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7.782101167315171E-2"/>
                  <c:y val="-0.14814814814814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706874189364481E-2"/>
                  <c:y val="-0.2129629629629635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2256809338521506E-2"/>
                  <c:y val="-0.1851851851851855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6.4850843060959867E-2"/>
                  <c:y val="-0.194444444444445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ru-RU" sz="1800" b="1" kern="1200" dirty="0" smtClean="0">
                    <a:solidFill>
                      <a:srgbClr val="002060"/>
                    </a:solidFill>
                    <a:latin typeface="Arial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Безвозмездные поступления'!$D$11:$H$11</c:f>
              <c:numCache>
                <c:formatCode>General</c:formatCode>
                <c:ptCount val="5"/>
                <c:pt idx="0">
                  <c:v>2452</c:v>
                </c:pt>
                <c:pt idx="1">
                  <c:v>3250</c:v>
                </c:pt>
                <c:pt idx="2">
                  <c:v>2721</c:v>
                </c:pt>
                <c:pt idx="3">
                  <c:v>2085</c:v>
                </c:pt>
                <c:pt idx="4">
                  <c:v>222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6967040"/>
        <c:axId val="176989312"/>
      </c:lineChart>
      <c:catAx>
        <c:axId val="176967040"/>
        <c:scaling>
          <c:orientation val="minMax"/>
        </c:scaling>
        <c:delete val="1"/>
        <c:axPos val="b"/>
        <c:majorTickMark val="out"/>
        <c:minorTickMark val="none"/>
        <c:tickLblPos val="nextTo"/>
        <c:crossAx val="176989312"/>
        <c:crosses val="autoZero"/>
        <c:auto val="1"/>
        <c:lblAlgn val="ctr"/>
        <c:lblOffset val="100"/>
        <c:noMultiLvlLbl val="0"/>
      </c:catAx>
      <c:valAx>
        <c:axId val="1769893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7696704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17824712122888E-2"/>
          <c:y val="3.6943744752308993E-2"/>
          <c:w val="0.7403552377809457"/>
          <c:h val="0.9261125104953820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Безвозмездные поступления'!$B$1</c:f>
              <c:strCache>
                <c:ptCount val="1"/>
                <c:pt idx="0">
                  <c:v>дотации</c:v>
                </c:pt>
              </c:strCache>
            </c:strRef>
          </c:tx>
          <c:spPr>
            <a:solidFill>
              <a:schemeClr val="tx2">
                <a:lumMod val="10000"/>
              </a:schemeClr>
            </a:solidFill>
          </c:spPr>
          <c:invertIfNegative val="0"/>
          <c:val>
            <c:numRef>
              <c:f>'Безвозмездные поступления'!$B$4:$B$8</c:f>
              <c:numCache>
                <c:formatCode>0</c:formatCode>
                <c:ptCount val="5"/>
                <c:pt idx="0">
                  <c:v>62.8</c:v>
                </c:pt>
                <c:pt idx="1">
                  <c:v>0.70000000000000007</c:v>
                </c:pt>
                <c:pt idx="2">
                  <c:v>191</c:v>
                </c:pt>
                <c:pt idx="3">
                  <c:v>44.1</c:v>
                </c:pt>
                <c:pt idx="4">
                  <c:v>50.9</c:v>
                </c:pt>
              </c:numCache>
            </c:numRef>
          </c:val>
        </c:ser>
        <c:ser>
          <c:idx val="1"/>
          <c:order val="1"/>
          <c:tx>
            <c:strRef>
              <c:f>'Безвозмездные поступления'!$C$1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chemeClr val="tx2">
                <a:lumMod val="25000"/>
              </a:schemeClr>
            </a:solidFill>
          </c:spPr>
          <c:invertIfNegative val="0"/>
          <c:val>
            <c:numRef>
              <c:f>'Безвозмездные поступления'!$C$4:$C$8</c:f>
              <c:numCache>
                <c:formatCode>0</c:formatCode>
                <c:ptCount val="5"/>
                <c:pt idx="0">
                  <c:v>182.4</c:v>
                </c:pt>
                <c:pt idx="1">
                  <c:v>686.3</c:v>
                </c:pt>
                <c:pt idx="2">
                  <c:v>43.4</c:v>
                </c:pt>
                <c:pt idx="3">
                  <c:v>43.6</c:v>
                </c:pt>
                <c:pt idx="4">
                  <c:v>45.1</c:v>
                </c:pt>
              </c:numCache>
            </c:numRef>
          </c:val>
        </c:ser>
        <c:ser>
          <c:idx val="2"/>
          <c:order val="2"/>
          <c:tx>
            <c:strRef>
              <c:f>'Безвозмездные поступления'!$D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</c:spPr>
          <c:invertIfNegative val="0"/>
          <c:val>
            <c:numRef>
              <c:f>'Безвозмездные поступления'!$D$4:$D$8</c:f>
              <c:numCache>
                <c:formatCode>0</c:formatCode>
                <c:ptCount val="5"/>
                <c:pt idx="0">
                  <c:v>500.8</c:v>
                </c:pt>
                <c:pt idx="1">
                  <c:v>773.6</c:v>
                </c:pt>
                <c:pt idx="2">
                  <c:v>542</c:v>
                </c:pt>
                <c:pt idx="3">
                  <c:v>42.8</c:v>
                </c:pt>
                <c:pt idx="4">
                  <c:v>139.9</c:v>
                </c:pt>
              </c:numCache>
            </c:numRef>
          </c:val>
        </c:ser>
        <c:ser>
          <c:idx val="3"/>
          <c:order val="3"/>
          <c:tx>
            <c:strRef>
              <c:f>'Безвозмездные поступления'!$E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</c:spPr>
          <c:invertIfNegative val="0"/>
          <c:val>
            <c:numRef>
              <c:f>'Безвозмездные поступления'!$E$4:$E$8</c:f>
              <c:numCache>
                <c:formatCode>0</c:formatCode>
                <c:ptCount val="5"/>
                <c:pt idx="0">
                  <c:v>1706.1</c:v>
                </c:pt>
                <c:pt idx="1">
                  <c:v>1793</c:v>
                </c:pt>
                <c:pt idx="2">
                  <c:v>1945</c:v>
                </c:pt>
                <c:pt idx="3">
                  <c:v>1954.4</c:v>
                </c:pt>
                <c:pt idx="4">
                  <c:v>198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7023616"/>
        <c:axId val="177029504"/>
      </c:barChart>
      <c:catAx>
        <c:axId val="177023616"/>
        <c:scaling>
          <c:orientation val="minMax"/>
        </c:scaling>
        <c:delete val="1"/>
        <c:axPos val="b"/>
        <c:majorTickMark val="out"/>
        <c:minorTickMark val="none"/>
        <c:tickLblPos val="nextTo"/>
        <c:crossAx val="177029504"/>
        <c:crosses val="autoZero"/>
        <c:auto val="1"/>
        <c:lblAlgn val="ctr"/>
        <c:lblOffset val="100"/>
        <c:noMultiLvlLbl val="0"/>
      </c:catAx>
      <c:valAx>
        <c:axId val="177029504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177023616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sz="1400">
              <a:solidFill>
                <a:schemeClr val="bg1"/>
              </a:solidFill>
              <a:latin typeface="Arial" pitchFamily="34" charset="0"/>
              <a:cs typeface="Arial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5">
                <a:lumMod val="50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6">
                  <a:lumMod val="50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7"/>
            <c:invertIfNegative val="0"/>
            <c:bubble3D val="0"/>
            <c:spPr>
              <a:solidFill>
                <a:schemeClr val="tx2">
                  <a:lumMod val="50000"/>
                </a:schemeClr>
              </a:solidFill>
            </c:spPr>
          </c:dPt>
          <c:dPt>
            <c:idx val="8"/>
            <c:invertIfNegative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9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</c:spPr>
          </c:dPt>
          <c:dPt>
            <c:idx val="10"/>
            <c:invertIfNegative val="0"/>
            <c:bubble3D val="0"/>
            <c:spPr>
              <a:solidFill>
                <a:schemeClr val="accent4">
                  <a:lumMod val="50000"/>
                </a:schemeClr>
              </a:solidFill>
            </c:spPr>
          </c:dPt>
          <c:dPt>
            <c:idx val="11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2"/>
            <c:invertIfNegative val="0"/>
            <c:bubble3D val="0"/>
            <c:spPr>
              <a:solidFill>
                <a:srgbClr val="FF0000"/>
              </a:solidFill>
            </c:spPr>
          </c:dPt>
          <c:dLbls>
            <c:dLbl>
              <c:idx val="13"/>
              <c:delete val="1"/>
            </c:dLbl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Муниципальные программы'!$A$940:$A$953</c:f>
              <c:strCache>
                <c:ptCount val="13"/>
                <c:pt idx="0">
                  <c:v>Развитие образования </c:v>
                </c:pt>
                <c:pt idx="1">
                  <c:v>Социальная поддержка граждан </c:v>
                </c:pt>
                <c:pt idx="2">
                  <c:v>Сохранение и развитие культуры </c:v>
                </c:pt>
                <c:pt idx="3">
                  <c:v>Развитие ЖКХ, градостроительства</c:v>
                </c:pt>
                <c:pt idx="4">
                  <c:v>Развитие транспортной системы </c:v>
                </c:pt>
                <c:pt idx="5">
                  <c:v>Экология и охрана окружающей среды </c:v>
                </c:pt>
                <c:pt idx="6">
                  <c:v>Развитие информационного общества</c:v>
                </c:pt>
                <c:pt idx="7">
                  <c:v>Управление финансами </c:v>
                </c:pt>
                <c:pt idx="8">
                  <c:v>Развитие физической культуры </c:v>
                </c:pt>
                <c:pt idx="9">
                  <c:v>Формирование городской среды </c:v>
                </c:pt>
                <c:pt idx="10">
                  <c:v>Модернизация экономики </c:v>
                </c:pt>
                <c:pt idx="11">
                  <c:v>Управление имуществом </c:v>
                </c:pt>
                <c:pt idx="12">
                  <c:v>Безопасный Пятигорск </c:v>
                </c:pt>
              </c:strCache>
            </c:strRef>
          </c:cat>
          <c:val>
            <c:numRef>
              <c:f>'Муниципальные программы'!$B$940:$B$953</c:f>
              <c:numCache>
                <c:formatCode>0</c:formatCode>
                <c:ptCount val="14"/>
                <c:pt idx="0">
                  <c:v>1718.6353959999999</c:v>
                </c:pt>
                <c:pt idx="1">
                  <c:v>1047.9564820000001</c:v>
                </c:pt>
                <c:pt idx="2">
                  <c:v>691</c:v>
                </c:pt>
                <c:pt idx="3">
                  <c:v>340</c:v>
                </c:pt>
                <c:pt idx="4">
                  <c:v>286</c:v>
                </c:pt>
                <c:pt idx="5">
                  <c:v>203.38391800000002</c:v>
                </c:pt>
                <c:pt idx="6">
                  <c:v>199.66387099999997</c:v>
                </c:pt>
                <c:pt idx="7">
                  <c:v>161.3031</c:v>
                </c:pt>
                <c:pt idx="8">
                  <c:v>154.68060199999999</c:v>
                </c:pt>
                <c:pt idx="9">
                  <c:v>83.8</c:v>
                </c:pt>
                <c:pt idx="10">
                  <c:v>60.908635000000004</c:v>
                </c:pt>
                <c:pt idx="11">
                  <c:v>45.569386000000002</c:v>
                </c:pt>
                <c:pt idx="12">
                  <c:v>40.823693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7155072"/>
        <c:axId val="177156864"/>
      </c:barChart>
      <c:catAx>
        <c:axId val="177155072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77156864"/>
        <c:crosses val="autoZero"/>
        <c:auto val="1"/>
        <c:lblAlgn val="ctr"/>
        <c:lblOffset val="100"/>
        <c:noMultiLvlLbl val="0"/>
      </c:catAx>
      <c:valAx>
        <c:axId val="177156864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177155072"/>
        <c:crosses val="autoZero"/>
        <c:crossBetween val="between"/>
      </c:valAx>
    </c:plotArea>
    <c:plotVisOnly val="1"/>
    <c:dispBlanksAs val="gap"/>
    <c:showDLblsOverMax val="0"/>
  </c:chart>
  <c:spPr>
    <a:solidFill>
      <a:schemeClr val="accent2">
        <a:lumMod val="20000"/>
        <a:lumOff val="80000"/>
      </a:schemeClr>
    </a:solidFill>
  </c:sp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27104722792643E-2"/>
          <c:y val="2.515723723472801E-2"/>
          <c:w val="0.93976728268309551"/>
          <c:h val="0.94968552553054464"/>
        </c:manualLayout>
      </c:layout>
      <c:ofPieChart>
        <c:ofPieType val="bar"/>
        <c:varyColors val="1"/>
        <c:ser>
          <c:idx val="0"/>
          <c:order val="0"/>
          <c:spPr>
            <a:solidFill>
              <a:schemeClr val="accent5">
                <a:lumMod val="40000"/>
                <a:lumOff val="60000"/>
              </a:schemeClr>
            </a:solidFill>
          </c:spPr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</c:spPr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</c:spPr>
          </c:dPt>
          <c:cat>
            <c:strRef>
              <c:f>'Муниципальные программы'!$G$957:$I$957</c:f>
              <c:strCache>
                <c:ptCount val="3"/>
                <c:pt idx="0">
                  <c:v>Програмные расходы</c:v>
                </c:pt>
                <c:pt idx="1">
                  <c:v>обеспечение деятельности Думы города Пятигорска</c:v>
                </c:pt>
                <c:pt idx="2">
                  <c:v>-отдельные государственные полномочия, переданные на исполнение администрации города Пятигорска</c:v>
                </c:pt>
              </c:strCache>
            </c:strRef>
          </c:cat>
          <c:val>
            <c:numRef>
              <c:f>'Муниципальные программы'!$G$958:$I$958</c:f>
              <c:numCache>
                <c:formatCode>#,##0.00</c:formatCode>
                <c:ptCount val="3"/>
                <c:pt idx="0" formatCode="0">
                  <c:v>4432.8769660000034</c:v>
                </c:pt>
                <c:pt idx="1">
                  <c:v>25.419</c:v>
                </c:pt>
                <c:pt idx="2">
                  <c:v>9.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gapWidth val="100"/>
        <c:secondPieSize val="75"/>
        <c:serLines>
          <c:spPr>
            <a:ln w="31750">
              <a:solidFill>
                <a:schemeClr val="accent2">
                  <a:lumMod val="75000"/>
                </a:schemeClr>
              </a:solidFill>
            </a:ln>
          </c:spPr>
        </c:serLines>
      </c:ofPieChart>
    </c:plotArea>
    <c:plotVisOnly val="1"/>
    <c:dispBlanksAs val="zero"/>
    <c:showDLblsOverMax val="0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1407480314960638E-3"/>
          <c:w val="0.96944444444444444"/>
          <c:h val="0.63120054133858272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76200">
              <a:solidFill>
                <a:srgbClr val="0000FF"/>
              </a:solidFill>
            </a:ln>
          </c:spPr>
          <c:marker>
            <c:symbol val="square"/>
            <c:size val="13"/>
            <c:spPr>
              <a:solidFill>
                <a:srgbClr val="0000FF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3.7499999999999999E-2"/>
                  <c:y val="-0.219354838709677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0000000000000024E-2"/>
                  <c:y val="-0.2193548387096774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166666666666672E-2"/>
                  <c:y val="-0.2322580645161290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3888888888888889E-3"/>
                  <c:y val="-0.1548390231543583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1.3888888888888889E-3"/>
                  <c:y val="-0.17630838696914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1.388888888888787E-3"/>
                  <c:y val="-0.2534433062681449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8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 План 2020</c:v>
                </c:pt>
                <c:pt idx="5">
                  <c:v> Прогноз 2021</c:v>
                </c:pt>
                <c:pt idx="6">
                  <c:v> Прогноз 2022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4008</c:v>
                </c:pt>
                <c:pt idx="1">
                  <c:v>3951</c:v>
                </c:pt>
                <c:pt idx="2">
                  <c:v>3778</c:v>
                </c:pt>
                <c:pt idx="3">
                  <c:v>5035</c:v>
                </c:pt>
                <c:pt idx="4">
                  <c:v>5081</c:v>
                </c:pt>
                <c:pt idx="5">
                  <c:v>3866</c:v>
                </c:pt>
                <c:pt idx="6">
                  <c:v>400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cat>
            <c:strRef>
              <c:f>Лист1!$A$2:$A$8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 План 2020</c:v>
                </c:pt>
                <c:pt idx="5">
                  <c:v> Прогноз 2021</c:v>
                </c:pt>
                <c:pt idx="6">
                  <c:v> Прогноз 2022</c:v>
                </c:pt>
              </c:strCache>
            </c:strRef>
          </c:cat>
          <c:val>
            <c:numRef>
              <c:f>Лист1!$C$2:$C$8</c:f>
            </c:numRef>
          </c:val>
          <c:smooth val="0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cat>
            <c:strRef>
              <c:f>Лист1!$A$2:$A$8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 План 2020</c:v>
                </c:pt>
                <c:pt idx="5">
                  <c:v> Прогноз 2021</c:v>
                </c:pt>
                <c:pt idx="6">
                  <c:v> Прогноз 2022</c:v>
                </c:pt>
              </c:strCache>
            </c:strRef>
          </c:cat>
          <c:val>
            <c:numRef>
              <c:f>Лист1!$D$2:$D$8</c:f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6583808"/>
        <c:axId val="176585344"/>
      </c:lineChart>
      <c:catAx>
        <c:axId val="176583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  <c:crossAx val="176585344"/>
        <c:crosses val="autoZero"/>
        <c:auto val="1"/>
        <c:lblAlgn val="ctr"/>
        <c:lblOffset val="100"/>
        <c:noMultiLvlLbl val="0"/>
      </c:catAx>
      <c:valAx>
        <c:axId val="17658534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765838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explosion val="8"/>
          <c:dPt>
            <c:idx val="0"/>
            <c:bubble3D val="0"/>
            <c:spPr>
              <a:solidFill>
                <a:schemeClr val="accent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val>
            <c:numRef>
              <c:f>'региональные проекты'!$G$29:$G$30</c:f>
              <c:numCache>
                <c:formatCode>General</c:formatCode>
                <c:ptCount val="2"/>
                <c:pt idx="0">
                  <c:v>136.1</c:v>
                </c:pt>
                <c:pt idx="1">
                  <c:v>296.899999999999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3</c:f>
              <c:strCache>
                <c:ptCount val="2"/>
                <c:pt idx="0">
                  <c:v>01.01.2020</c:v>
                </c:pt>
                <c:pt idx="1">
                  <c:v>01.01.2019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2130</c:v>
                </c:pt>
                <c:pt idx="1">
                  <c:v>112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05966592"/>
        <c:axId val="107746048"/>
      </c:barChart>
      <c:catAx>
        <c:axId val="105966592"/>
        <c:scaling>
          <c:orientation val="maxMin"/>
        </c:scaling>
        <c:delete val="0"/>
        <c:axPos val="b"/>
        <c:numFmt formatCode="@" sourceLinked="1"/>
        <c:majorTickMark val="out"/>
        <c:minorTickMark val="none"/>
        <c:tickLblPos val="nextTo"/>
        <c:crossAx val="107746048"/>
        <c:crosses val="autoZero"/>
        <c:auto val="1"/>
        <c:lblAlgn val="ctr"/>
        <c:lblOffset val="100"/>
        <c:noMultiLvlLbl val="0"/>
      </c:catAx>
      <c:valAx>
        <c:axId val="107746048"/>
        <c:scaling>
          <c:orientation val="minMax"/>
        </c:scaling>
        <c:delete val="1"/>
        <c:axPos val="r"/>
        <c:numFmt formatCode="#,##0" sourceLinked="1"/>
        <c:majorTickMark val="out"/>
        <c:minorTickMark val="none"/>
        <c:tickLblPos val="none"/>
        <c:crossAx val="1059665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kumimoji="0" lang="ru-RU" sz="1400" b="0" kern="1200" dirty="0" smtClean="0">
          <a:solidFill>
            <a:schemeClr val="dk1"/>
          </a:solidFill>
          <a:latin typeface="Arial" pitchFamily="34" charset="0"/>
          <a:ea typeface="Tahoma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2022</c:v>
                </c:pt>
                <c:pt idx="1">
                  <c:v>2021</c:v>
                </c:pt>
                <c:pt idx="2">
                  <c:v>2020</c:v>
                </c:pt>
                <c:pt idx="3">
                  <c:v>2019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26956.2</c:v>
                </c:pt>
                <c:pt idx="1">
                  <c:v>26956.2</c:v>
                </c:pt>
                <c:pt idx="2">
                  <c:v>25697</c:v>
                </c:pt>
                <c:pt idx="3">
                  <c:v>24732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17486336"/>
        <c:axId val="117506816"/>
      </c:barChart>
      <c:catAx>
        <c:axId val="117486336"/>
        <c:scaling>
          <c:orientation val="maxMin"/>
        </c:scaling>
        <c:delete val="0"/>
        <c:axPos val="b"/>
        <c:numFmt formatCode="@" sourceLinked="1"/>
        <c:majorTickMark val="out"/>
        <c:minorTickMark val="none"/>
        <c:tickLblPos val="nextTo"/>
        <c:crossAx val="117506816"/>
        <c:crosses val="autoZero"/>
        <c:auto val="1"/>
        <c:lblAlgn val="ctr"/>
        <c:lblOffset val="100"/>
        <c:noMultiLvlLbl val="0"/>
      </c:catAx>
      <c:valAx>
        <c:axId val="117506816"/>
        <c:scaling>
          <c:orientation val="minMax"/>
        </c:scaling>
        <c:delete val="1"/>
        <c:axPos val="r"/>
        <c:numFmt formatCode="#,##0.00" sourceLinked="1"/>
        <c:majorTickMark val="out"/>
        <c:minorTickMark val="none"/>
        <c:tickLblPos val="none"/>
        <c:crossAx val="1174863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kumimoji="0" lang="ru-RU" sz="1400" b="0" kern="1200" dirty="0" smtClean="0">
          <a:solidFill>
            <a:schemeClr val="dk1"/>
          </a:solidFill>
          <a:latin typeface="Arial" pitchFamily="34" charset="0"/>
          <a:ea typeface="Tahoma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307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41300" h="241300"/>
              <a:bevelB w="241300" h="241300"/>
            </a:sp3d>
          </c:spPr>
          <c:explosion val="17"/>
          <c:dPt>
            <c:idx val="0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1"/>
            <c:bubble3D val="0"/>
            <c:explosion val="16"/>
            <c:spPr>
              <a:solidFill>
                <a:schemeClr val="accent2">
                  <a:lumMod val="60000"/>
                  <a:lumOff val="4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Lbls>
            <c:delete val="1"/>
          </c:dLbls>
          <c:cat>
            <c:strRef>
              <c:f>Лист1!$A$2:$A$4</c:f>
              <c:strCache>
                <c:ptCount val="3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3017.8490000000002</c:v>
                </c:pt>
                <c:pt idx="1">
                  <c:v>21215.43999999994</c:v>
                </c:pt>
                <c:pt idx="2">
                  <c:v>13890.2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Доходы 2017-2020'!$A$2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ln w="114300">
              <a:solidFill>
                <a:schemeClr val="accent5">
                  <a:lumMod val="25000"/>
                </a:schemeClr>
              </a:solidFill>
            </a:ln>
          </c:spPr>
          <c:marker>
            <c:symbol val="circle"/>
            <c:size val="15"/>
            <c:spPr>
              <a:solidFill>
                <a:schemeClr val="accent5">
                  <a:lumMod val="2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5.5555555555555455E-2"/>
                  <c:y val="-4.65890183028286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666666666666668E-2"/>
                  <c:y val="-4.88075429839156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9.4444444444444525E-2"/>
                  <c:y val="-4.65890183028286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1.77481974486966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1111111111111125E-2"/>
                  <c:y val="-3.77149195784803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888888888888889E-2"/>
                  <c:y val="-5.54631170271770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7407407407407546E-2"/>
                  <c:y val="-4.43704936217418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оходы 2017-2020'!$B$1:$H$1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План 2020</c:v>
                </c:pt>
                <c:pt idx="5">
                  <c:v>Прогноз 2021</c:v>
                </c:pt>
                <c:pt idx="6">
                  <c:v>Прогноз 2022</c:v>
                </c:pt>
              </c:strCache>
            </c:strRef>
          </c:cat>
          <c:val>
            <c:numRef>
              <c:f>'Доходы 2017-2020'!$B$2:$H$2</c:f>
              <c:numCache>
                <c:formatCode>General</c:formatCode>
                <c:ptCount val="7"/>
                <c:pt idx="0">
                  <c:v>3681</c:v>
                </c:pt>
                <c:pt idx="1">
                  <c:v>3715</c:v>
                </c:pt>
                <c:pt idx="2">
                  <c:v>3827</c:v>
                </c:pt>
                <c:pt idx="3">
                  <c:v>4735</c:v>
                </c:pt>
                <c:pt idx="4">
                  <c:v>4507</c:v>
                </c:pt>
                <c:pt idx="5">
                  <c:v>3721</c:v>
                </c:pt>
                <c:pt idx="6">
                  <c:v>385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Доходы 2017-2020'!$A$3</c:f>
              <c:strCache>
                <c:ptCount val="1"/>
                <c:pt idx="0">
                  <c:v>Налоговые  доходы</c:v>
                </c:pt>
              </c:strCache>
            </c:strRef>
          </c:tx>
          <c:spPr>
            <a:ln w="107950"/>
          </c:spPr>
          <c:marker>
            <c:symbol val="square"/>
            <c:size val="16"/>
            <c:spPr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6.2322946175637432E-2"/>
                  <c:y val="-5.10260676650026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6657223796033995E-2"/>
                  <c:y val="-5.32445923460898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6.2322946175637432E-2"/>
                  <c:y val="-4.65890183028285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7988668555240814E-2"/>
                  <c:y val="-4.65890183028286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8545797922568484E-2"/>
                  <c:y val="-4.65890183028286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6.6100094428706513E-2"/>
                  <c:y val="-4.88075429839156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0991501416430593E-2"/>
                  <c:y val="-4.65890183028285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оходы 2017-2020'!$B$1:$H$1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План 2020</c:v>
                </c:pt>
                <c:pt idx="5">
                  <c:v>Прогноз 2021</c:v>
                </c:pt>
                <c:pt idx="6">
                  <c:v>Прогноз 2022</c:v>
                </c:pt>
              </c:strCache>
            </c:strRef>
          </c:cat>
          <c:val>
            <c:numRef>
              <c:f>'Доходы 2017-2020'!$B$3:$H$3</c:f>
              <c:numCache>
                <c:formatCode>General</c:formatCode>
                <c:ptCount val="7"/>
                <c:pt idx="0">
                  <c:v>1002</c:v>
                </c:pt>
                <c:pt idx="1">
                  <c:v>1023</c:v>
                </c:pt>
                <c:pt idx="2">
                  <c:v>1139</c:v>
                </c:pt>
                <c:pt idx="3">
                  <c:v>1297</c:v>
                </c:pt>
                <c:pt idx="4">
                  <c:v>1609</c:v>
                </c:pt>
                <c:pt idx="5">
                  <c:v>1454</c:v>
                </c:pt>
                <c:pt idx="6">
                  <c:v>147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Доходы 2017-2020'!$A$4</c:f>
              <c:strCache>
                <c:ptCount val="1"/>
                <c:pt idx="0">
                  <c:v>Неналоговые доходы</c:v>
                </c:pt>
              </c:strCache>
            </c:strRef>
          </c:tx>
          <c:spPr>
            <a:ln w="114300">
              <a:solidFill>
                <a:srgbClr val="006600"/>
              </a:solidFill>
            </a:ln>
          </c:spPr>
          <c:marker>
            <c:symbol val="diamond"/>
            <c:size val="19"/>
            <c:spPr>
              <a:solidFill>
                <a:srgbClr val="0066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5.0991501416430593E-2"/>
                  <c:y val="-3.9933444259567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5325779036827323E-2"/>
                  <c:y val="-3.54963948973932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5325779036827323E-2"/>
                  <c:y val="-3.54963948973932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5.0991501416430593E-2"/>
                  <c:y val="-3.9933444259567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0991501416430593E-2"/>
                  <c:y val="-3.9933444259567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0991501416430593E-2"/>
                  <c:y val="-3.9933444259567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4.5325779036827323E-2"/>
                  <c:y val="-3.9933444259567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оходы 2017-2020'!$B$1:$H$1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План 2020</c:v>
                </c:pt>
                <c:pt idx="5">
                  <c:v>Прогноз 2021</c:v>
                </c:pt>
                <c:pt idx="6">
                  <c:v>Прогноз 2022</c:v>
                </c:pt>
              </c:strCache>
            </c:strRef>
          </c:cat>
          <c:val>
            <c:numRef>
              <c:f>'Доходы 2017-2020'!$B$4:$H$4</c:f>
              <c:numCache>
                <c:formatCode>General</c:formatCode>
                <c:ptCount val="7"/>
                <c:pt idx="0">
                  <c:v>380</c:v>
                </c:pt>
                <c:pt idx="1">
                  <c:v>381</c:v>
                </c:pt>
                <c:pt idx="2">
                  <c:v>236</c:v>
                </c:pt>
                <c:pt idx="3">
                  <c:v>188</c:v>
                </c:pt>
                <c:pt idx="4">
                  <c:v>177</c:v>
                </c:pt>
                <c:pt idx="5">
                  <c:v>182</c:v>
                </c:pt>
                <c:pt idx="6">
                  <c:v>16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Доходы 2017-2020'!$A$5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ln w="98425">
              <a:solidFill>
                <a:srgbClr val="FFFF00"/>
              </a:solidFill>
            </a:ln>
          </c:spPr>
          <c:marker>
            <c:symbol val="circle"/>
            <c:size val="17"/>
            <c:spPr>
              <a:solidFill>
                <a:srgbClr val="FFFF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6.2322946175637432E-2"/>
                  <c:y val="-5.32445923460898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6100094428706513E-2"/>
                  <c:y val="-5.54631170271770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7.1765816808309721E-2"/>
                  <c:y val="-6.43372157515254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2322946175637432E-2"/>
                  <c:y val="-5.10260676650027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4551463644948063E-2"/>
                  <c:y val="-5.32445923460898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9102927289896375E-2"/>
                  <c:y val="-5.32445923460898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6.043437204910293E-2"/>
                  <c:y val="-4.65890183028286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Доходы 2017-2020'!$B$1:$H$1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Оценка 2019</c:v>
                </c:pt>
                <c:pt idx="4">
                  <c:v>План 2020</c:v>
                </c:pt>
                <c:pt idx="5">
                  <c:v>Прогноз 2021</c:v>
                </c:pt>
                <c:pt idx="6">
                  <c:v>Прогноз 2022</c:v>
                </c:pt>
              </c:strCache>
            </c:strRef>
          </c:cat>
          <c:val>
            <c:numRef>
              <c:f>'Доходы 2017-2020'!$B$5:$H$5</c:f>
              <c:numCache>
                <c:formatCode>General</c:formatCode>
                <c:ptCount val="7"/>
                <c:pt idx="0">
                  <c:v>2299</c:v>
                </c:pt>
                <c:pt idx="1">
                  <c:v>2311</c:v>
                </c:pt>
                <c:pt idx="2">
                  <c:v>2452</c:v>
                </c:pt>
                <c:pt idx="3">
                  <c:v>3250</c:v>
                </c:pt>
                <c:pt idx="4">
                  <c:v>2721</c:v>
                </c:pt>
                <c:pt idx="5">
                  <c:v>2085</c:v>
                </c:pt>
                <c:pt idx="6">
                  <c:v>222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474496"/>
        <c:axId val="168476032"/>
      </c:lineChart>
      <c:catAx>
        <c:axId val="16847449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168476032"/>
        <c:crosses val="autoZero"/>
        <c:auto val="1"/>
        <c:lblAlgn val="ctr"/>
        <c:lblOffset val="100"/>
        <c:noMultiLvlLbl val="0"/>
      </c:catAx>
      <c:valAx>
        <c:axId val="168476032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16847449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6.8750000000000019E-2"/>
          <c:w val="0.9541666666666665"/>
          <c:h val="0.9312500000000000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effectLst>
              <a:outerShdw sx="1000" sy="1000" algn="ctr" rotWithShape="0">
                <a:srgbClr val="000000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explosion val="21"/>
          <c:dPt>
            <c:idx val="0"/>
            <c:bubble3D val="0"/>
            <c:spPr>
              <a:solidFill>
                <a:srgbClr val="FFC000"/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c:spPr>
          </c:dPt>
          <c:dPt>
            <c:idx val="1"/>
            <c:bubble3D val="0"/>
            <c:spPr>
              <a:solidFill>
                <a:schemeClr val="accent5">
                  <a:lumMod val="90000"/>
                </a:schemeClr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c:spPr>
          </c:dPt>
          <c:cat>
            <c:strRef>
              <c:f>Лист1!$A$2:$A$3</c:f>
              <c:strCache>
                <c:ptCount val="2"/>
                <c:pt idx="0">
                  <c:v>социальные расходы</c:v>
                </c:pt>
                <c:pt idx="1">
                  <c:v>другие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421</c:v>
                </c:pt>
                <c:pt idx="1">
                  <c:v>7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3"/>
            <c:invertIfNegative val="0"/>
            <c:bubble3D val="0"/>
            <c:spPr>
              <a:solidFill>
                <a:srgbClr val="996600"/>
              </a:solidFill>
            </c:spPr>
          </c:dPt>
          <c:dLbls>
            <c:dLbl>
              <c:idx val="0"/>
              <c:layout>
                <c:manualLayout>
                  <c:x val="-0.12078152753108359"/>
                  <c:y val="2.645502645502549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142095914742451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10657193605683837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расходы по разделам'!$A$18:$A$21</c:f>
              <c:strCache>
                <c:ptCount val="4"/>
                <c:pt idx="0">
                  <c:v>ОБРАЗОВАНИЕ</c:v>
                </c:pt>
                <c:pt idx="1">
                  <c:v>СОЦИАЛЬНАЯ ПОЛИТИКА</c:v>
                </c:pt>
                <c:pt idx="2">
                  <c:v>КУЛЬТУРА</c:v>
                </c:pt>
                <c:pt idx="3">
                  <c:v>ФИЗИЧЕСКАЯ КУЛЬТУРА И СПОРТ</c:v>
                </c:pt>
              </c:strCache>
            </c:strRef>
          </c:cat>
          <c:val>
            <c:numRef>
              <c:f>'расходы по разделам'!$B$18:$B$21</c:f>
              <c:numCache>
                <c:formatCode>#,##0</c:formatCode>
                <c:ptCount val="4"/>
                <c:pt idx="0">
                  <c:v>1720.4538070000001</c:v>
                </c:pt>
                <c:pt idx="1">
                  <c:v>1182.5123389999999</c:v>
                </c:pt>
                <c:pt idx="2">
                  <c:v>684</c:v>
                </c:pt>
                <c:pt idx="3">
                  <c:v>155.340718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9647616"/>
        <c:axId val="159666176"/>
      </c:barChart>
      <c:catAx>
        <c:axId val="159647616"/>
        <c:scaling>
          <c:orientation val="minMax"/>
        </c:scaling>
        <c:delete val="0"/>
        <c:axPos val="l"/>
        <c:majorTickMark val="out"/>
        <c:minorTickMark val="none"/>
        <c:tickLblPos val="nextTo"/>
        <c:crossAx val="159666176"/>
        <c:crosses val="autoZero"/>
        <c:auto val="1"/>
        <c:lblAlgn val="ctr"/>
        <c:lblOffset val="100"/>
        <c:noMultiLvlLbl val="0"/>
      </c:catAx>
      <c:valAx>
        <c:axId val="159666176"/>
        <c:scaling>
          <c:orientation val="minMax"/>
        </c:scaling>
        <c:delete val="1"/>
        <c:axPos val="b"/>
        <c:majorGridlines/>
        <c:numFmt formatCode="#,##0" sourceLinked="1"/>
        <c:majorTickMark val="out"/>
        <c:minorTickMark val="none"/>
        <c:tickLblPos val="nextTo"/>
        <c:crossAx val="1596476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 algn="ctr">
        <a:defRPr lang="ru-RU" sz="1800" b="1" i="0" u="none" strike="noStrike" kern="1200" baseline="0">
          <a:solidFill>
            <a:srgbClr val="002060"/>
          </a:solidFill>
          <a:latin typeface="+mn-lt"/>
          <a:ea typeface="+mn-ea"/>
          <a:cs typeface="+mn-cs"/>
        </a:defRPr>
      </a:pPr>
      <a:endParaRPr lang="ru-RU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9472217135649334E-4"/>
          <c:y val="6.8750002773600119E-2"/>
          <c:w val="0.9541666666666665"/>
          <c:h val="0.9312500000000000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B0F0"/>
            </a:solidFill>
            <a:effectLst>
              <a:outerShdw sx="1000" sy="1000" algn="ctr" rotWithShape="0">
                <a:srgbClr val="000000"/>
              </a:outerShdw>
            </a:effectLst>
            <a:scene3d>
              <a:camera prst="orthographicFront"/>
              <a:lightRig rig="threePt" dir="t"/>
            </a:scene3d>
            <a:sp3d>
              <a:bevelT w="165100" prst="coolSlant"/>
            </a:sp3d>
          </c:spPr>
          <c:explosion val="14"/>
          <c:dPt>
            <c:idx val="0"/>
            <c:bubble3D val="0"/>
            <c:spPr>
              <a:solidFill>
                <a:schemeClr val="accent5">
                  <a:lumMod val="90000"/>
                </a:schemeClr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c:spPr>
          </c:dPt>
          <c:dPt>
            <c:idx val="1"/>
            <c:bubble3D val="0"/>
            <c:spPr>
              <a:solidFill>
                <a:srgbClr val="FFC000"/>
              </a:solidFill>
              <a:effectLst>
                <a:outerShdw sx="1000" sy="1000" algn="ctr" rotWithShape="0">
                  <a:srgbClr val="000000"/>
                </a:outerShdw>
              </a:effectLst>
              <a:scene3d>
                <a:camera prst="orthographicFront"/>
                <a:lightRig rig="threePt" dir="t"/>
              </a:scene3d>
              <a:sp3d prstMaterial="metal">
                <a:bevelT w="165100" prst="coolSlant"/>
              </a:sp3d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190.5</c:v>
                </c:pt>
                <c:pt idx="1">
                  <c:v>890.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spPr>
    <a:scene3d>
      <a:camera prst="orthographicFront"/>
      <a:lightRig rig="threePt" dir="t"/>
    </a:scene3d>
    <a:sp3d prstMaterial="metal"/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FF00FF"/>
              </a:solidFill>
            </c:spPr>
          </c:dPt>
          <c:dPt>
            <c:idx val="1"/>
            <c:invertIfNegative val="0"/>
            <c:bubble3D val="0"/>
            <c:spPr>
              <a:solidFill>
                <a:srgbClr val="FF330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FCC00"/>
              </a:solidFill>
            </c:spPr>
          </c:dPt>
          <c:dLbls>
            <c:dLbl>
              <c:idx val="1"/>
              <c:layout>
                <c:manualLayout>
                  <c:x val="2.0408163265306124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9.7505668934240411E-2"/>
                  <c:y val="2.737850787132102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0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расходы по разделам'!$A$25:$A$27</c:f>
              <c:strCache>
                <c:ptCount val="3"/>
                <c:pt idx="0">
                  <c:v>НАЦИОНАЛЬНАЯ БЕЗОПАСНОСТЬ И ПРАВООХРАНИТЕЛЬНАЯ ДЕЯТЕЛЬНОСТЬ</c:v>
                </c:pt>
                <c:pt idx="1">
                  <c:v>НАЦИОНАЛЬНАЯ ЭКОНОМИКА</c:v>
                </c:pt>
                <c:pt idx="2">
                  <c:v>ЖИЛИЩНО-КОММУНАЛЬНОЕ ХОЗЯЙСТВО</c:v>
                </c:pt>
              </c:strCache>
            </c:strRef>
          </c:cat>
          <c:val>
            <c:numRef>
              <c:f>'расходы по разделам'!$B$25:$B$27</c:f>
              <c:numCache>
                <c:formatCode>#,##0.00</c:formatCode>
                <c:ptCount val="3"/>
                <c:pt idx="0">
                  <c:v>27.557452000000001</c:v>
                </c:pt>
                <c:pt idx="1">
                  <c:v>292.10000000000002</c:v>
                </c:pt>
                <c:pt idx="2">
                  <c:v>570.814586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9746304"/>
        <c:axId val="159756288"/>
      </c:barChart>
      <c:catAx>
        <c:axId val="159746304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400" b="1">
                <a:solidFill>
                  <a:schemeClr val="accent6">
                    <a:lumMod val="75000"/>
                  </a:schemeClr>
                </a:solidFill>
              </a:defRPr>
            </a:pPr>
            <a:endParaRPr lang="ru-RU"/>
          </a:p>
        </c:txPr>
        <c:crossAx val="159756288"/>
        <c:crosses val="autoZero"/>
        <c:auto val="1"/>
        <c:lblAlgn val="ctr"/>
        <c:lblOffset val="100"/>
        <c:noMultiLvlLbl val="0"/>
      </c:catAx>
      <c:valAx>
        <c:axId val="159756288"/>
        <c:scaling>
          <c:orientation val="minMax"/>
        </c:scaling>
        <c:delete val="1"/>
        <c:axPos val="b"/>
        <c:numFmt formatCode="#,##0.00" sourceLinked="1"/>
        <c:majorTickMark val="out"/>
        <c:minorTickMark val="none"/>
        <c:tickLblPos val="nextTo"/>
        <c:crossAx val="15974630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66665236327747"/>
          <c:y val="0.12828947368421054"/>
          <c:w val="0.64486830154405084"/>
          <c:h val="0.7785087719298247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gradFill>
                <a:gsLst>
                  <a:gs pos="0">
                    <a:srgbClr val="FBEAC7"/>
                  </a:gs>
                  <a:gs pos="17999">
                    <a:srgbClr val="FEE7F2"/>
                  </a:gs>
                  <a:gs pos="36000">
                    <a:srgbClr val="FAC77D"/>
                  </a:gs>
                  <a:gs pos="61000">
                    <a:srgbClr val="FBA97D"/>
                  </a:gs>
                  <a:gs pos="82001">
                    <a:srgbClr val="FBD49C"/>
                  </a:gs>
                  <a:gs pos="100000">
                    <a:srgbClr val="FEE7F2"/>
                  </a:gs>
                </a:gsLst>
                <a:lin ang="18900000" scaled="0"/>
              </a:gra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bubble3D val="0"/>
            <c:explosion val="13"/>
            <c:spPr>
              <a:gradFill flip="none" rotWithShape="1">
                <a:gsLst>
                  <a:gs pos="0">
                    <a:srgbClr val="D6B19C"/>
                  </a:gs>
                  <a:gs pos="30000">
                    <a:srgbClr val="D49E6C"/>
                  </a:gs>
                  <a:gs pos="70000">
                    <a:srgbClr val="A65528"/>
                  </a:gs>
                  <a:gs pos="100000">
                    <a:srgbClr val="663012"/>
                  </a:gs>
                </a:gsLst>
                <a:lin ang="18900000" scaled="1"/>
                <a:tileRect/>
              </a:gra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val>
            <c:numRef>
              <c:f>'дорожный фонд'!$J$6:$K$6</c:f>
              <c:numCache>
                <c:formatCode>#,##0.0</c:formatCode>
                <c:ptCount val="2"/>
                <c:pt idx="0" formatCode="General">
                  <c:v>52.4</c:v>
                </c:pt>
                <c:pt idx="1">
                  <c:v>222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2"/>
          <c:order val="0"/>
          <c:tx>
            <c:strRef>
              <c:f>Лист1!$A$2</c:f>
              <c:strCache>
                <c:ptCount val="1"/>
                <c:pt idx="0">
                  <c:v>Ремонт дорог и придомовых территорий</c:v>
                </c:pt>
              </c:strCache>
            </c:strRef>
          </c:tx>
          <c:spPr>
            <a:solidFill>
              <a:srgbClr val="FF3300"/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2:$E$2</c:f>
              <c:numCache>
                <c:formatCode>General</c:formatCode>
                <c:ptCount val="4"/>
                <c:pt idx="0">
                  <c:v>24.888999999999989</c:v>
                </c:pt>
                <c:pt idx="1">
                  <c:v>26.605</c:v>
                </c:pt>
                <c:pt idx="2">
                  <c:v>22.353000000000005</c:v>
                </c:pt>
                <c:pt idx="3">
                  <c:v>23.623999999999999</c:v>
                </c:pt>
              </c:numCache>
            </c:numRef>
          </c:val>
        </c:ser>
        <c:ser>
          <c:idx val="0"/>
          <c:order val="1"/>
          <c:tx>
            <c:strRef>
              <c:f>Лист1!$A$3</c:f>
              <c:strCache>
                <c:ptCount val="1"/>
                <c:pt idx="0">
                  <c:v>Наказы избирателей</c:v>
                </c:pt>
              </c:strCache>
            </c:strRef>
          </c:tx>
          <c:invertIfNegative val="0"/>
          <c:dPt>
            <c:idx val="3"/>
            <c:invertIfNegative val="0"/>
            <c:bubble3D val="0"/>
            <c:spPr>
              <a:solidFill>
                <a:srgbClr val="FF9933"/>
              </a:solidFill>
            </c:spPr>
          </c:dPt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3:$E$3</c:f>
              <c:numCache>
                <c:formatCode>General</c:formatCode>
                <c:ptCount val="4"/>
                <c:pt idx="3">
                  <c:v>16.5</c:v>
                </c:pt>
              </c:numCache>
            </c:numRef>
          </c:val>
        </c:ser>
        <c:ser>
          <c:idx val="1"/>
          <c:order val="2"/>
          <c:tx>
            <c:strRef>
              <c:f>Лист1!$A$4</c:f>
              <c:strCache>
                <c:ptCount val="1"/>
                <c:pt idx="0">
                  <c:v>Ливневки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4:$E$4</c:f>
              <c:numCache>
                <c:formatCode>General</c:formatCode>
                <c:ptCount val="4"/>
                <c:pt idx="0">
                  <c:v>3.6</c:v>
                </c:pt>
                <c:pt idx="1">
                  <c:v>4.74</c:v>
                </c:pt>
                <c:pt idx="2">
                  <c:v>3.74</c:v>
                </c:pt>
                <c:pt idx="3">
                  <c:v>3.6</c:v>
                </c:pt>
              </c:numCache>
            </c:numRef>
          </c:val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Диагностика обследование паспортизация уличнодорожной сети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5:$E$5</c:f>
              <c:numCache>
                <c:formatCode>General</c:formatCode>
                <c:ptCount val="4"/>
                <c:pt idx="0">
                  <c:v>0.1</c:v>
                </c:pt>
                <c:pt idx="1">
                  <c:v>0.1</c:v>
                </c:pt>
                <c:pt idx="2">
                  <c:v>0.74000000000000099</c:v>
                </c:pt>
                <c:pt idx="3">
                  <c:v>0.1</c:v>
                </c:pt>
              </c:numCache>
            </c:numRef>
          </c:val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Строительство и реконструкция дорог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6:$E$6</c:f>
              <c:numCache>
                <c:formatCode>#,##0.0</c:formatCode>
                <c:ptCount val="4"/>
                <c:pt idx="0">
                  <c:v>1.47</c:v>
                </c:pt>
                <c:pt idx="1">
                  <c:v>4.5</c:v>
                </c:pt>
                <c:pt idx="2">
                  <c:v>2.2799999999999998</c:v>
                </c:pt>
                <c:pt idx="3" formatCode="General">
                  <c:v>1.35</c:v>
                </c:pt>
              </c:numCache>
            </c:numRef>
          </c:val>
        </c:ser>
        <c:ser>
          <c:idx val="5"/>
          <c:order val="5"/>
          <c:tx>
            <c:strRef>
              <c:f>Лист1!$A$7</c:f>
              <c:strCache>
                <c:ptCount val="1"/>
                <c:pt idx="0">
                  <c:v>Разметка,  знаки, ограждения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Лист1!$B$1:$E$1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 план 2020</c:v>
                </c:pt>
              </c:strCache>
            </c:strRef>
          </c:cat>
          <c:val>
            <c:numRef>
              <c:f>Лист1!$B$7:$E$7</c:f>
              <c:numCache>
                <c:formatCode>General</c:formatCode>
                <c:ptCount val="4"/>
                <c:pt idx="0">
                  <c:v>6.02</c:v>
                </c:pt>
                <c:pt idx="1">
                  <c:v>9.2339999999999982</c:v>
                </c:pt>
                <c:pt idx="2">
                  <c:v>16.89</c:v>
                </c:pt>
                <c:pt idx="3">
                  <c:v>7.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shape val="cylinder"/>
        <c:axId val="177739648"/>
        <c:axId val="177741184"/>
        <c:axId val="0"/>
      </c:bar3DChart>
      <c:catAx>
        <c:axId val="17773964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2000" b="1"/>
            </a:pPr>
            <a:endParaRPr lang="ru-RU"/>
          </a:p>
        </c:txPr>
        <c:crossAx val="177741184"/>
        <c:crosses val="autoZero"/>
        <c:auto val="1"/>
        <c:lblAlgn val="ctr"/>
        <c:lblOffset val="100"/>
        <c:noMultiLvlLbl val="0"/>
      </c:catAx>
      <c:valAx>
        <c:axId val="177741184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177739648"/>
        <c:crosses val="autoZero"/>
        <c:crossBetween val="between"/>
      </c:valAx>
    </c:plotArea>
    <c:plotVisOnly val="0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 w="85725">
              <a:solidFill>
                <a:srgbClr val="FF3300"/>
              </a:solidFill>
            </a:ln>
          </c:spPr>
          <c:marker>
            <c:symbol val="circle"/>
            <c:size val="18"/>
            <c:spPr>
              <a:solidFill>
                <a:srgbClr val="FF3300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8.8328075709779422E-2"/>
                  <c:y val="0.342592592592592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9.6740273396424825E-2"/>
                  <c:y val="-0.3796296296296303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9.6493537676875449E-2"/>
                  <c:y val="0.3425925925925926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2804386609885795E-3"/>
                  <c:y val="0.2055676268314562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 algn="l" rtl="0" fontAlgn="base">
                  <a:spcBef>
                    <a:spcPct val="0"/>
                  </a:spcBef>
                  <a:spcAft>
                    <a:spcPct val="0"/>
                  </a:spcAft>
                  <a:defRPr lang="ru-RU" sz="3200" b="1" kern="1200" dirty="0" smtClean="0">
                    <a:solidFill>
                      <a:srgbClr val="2D2D8A">
                        <a:lumMod val="75000"/>
                      </a:srgbClr>
                    </a:solidFill>
                    <a:latin typeface="Arial"/>
                    <a:ea typeface="+mn-ea"/>
                    <a:cs typeface="Arial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дорожный фонд'!$K$3:$K$6</c:f>
              <c:numCache>
                <c:formatCode>#,##0.0</c:formatCode>
                <c:ptCount val="4"/>
                <c:pt idx="0" formatCode="General">
                  <c:v>210</c:v>
                </c:pt>
                <c:pt idx="1">
                  <c:v>83.7</c:v>
                </c:pt>
                <c:pt idx="2">
                  <c:v>213.1</c:v>
                </c:pt>
                <c:pt idx="3">
                  <c:v>222.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802240"/>
        <c:axId val="177804032"/>
      </c:lineChart>
      <c:catAx>
        <c:axId val="177802240"/>
        <c:scaling>
          <c:orientation val="minMax"/>
        </c:scaling>
        <c:delete val="1"/>
        <c:axPos val="b"/>
        <c:majorTickMark val="out"/>
        <c:minorTickMark val="none"/>
        <c:tickLblPos val="nextTo"/>
        <c:crossAx val="177804032"/>
        <c:crosses val="autoZero"/>
        <c:auto val="1"/>
        <c:lblAlgn val="ctr"/>
        <c:lblOffset val="100"/>
        <c:noMultiLvlLbl val="0"/>
      </c:catAx>
      <c:valAx>
        <c:axId val="1778040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7780224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20905992020021638"/>
          <c:y val="0.12516148158145943"/>
          <c:w val="0.790940072755977"/>
          <c:h val="0.79625941629091368"/>
        </c:manualLayout>
      </c:layout>
      <c:bar3DChart>
        <c:barDir val="col"/>
        <c:grouping val="stacked"/>
        <c:varyColors val="0"/>
        <c:ser>
          <c:idx val="2"/>
          <c:order val="0"/>
          <c:tx>
            <c:strRef>
              <c:f>Лист1!$A$2</c:f>
              <c:strCache>
                <c:ptCount val="1"/>
                <c:pt idx="0">
                  <c:v>уличное освещение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6 (отчет)</c:v>
                </c:pt>
                <c:pt idx="1">
                  <c:v>2017 (отчет)</c:v>
                </c:pt>
                <c:pt idx="2">
                  <c:v>2018 (отчет)</c:v>
                </c:pt>
                <c:pt idx="3">
                  <c:v>2019 (оценка)</c:v>
                </c:pt>
                <c:pt idx="4">
                  <c:v>2020 (план)</c:v>
                </c:pt>
              </c:strCache>
            </c:strRef>
          </c:cat>
          <c:val>
            <c:numRef>
              <c:f>Лист1!$B$2:$F$2</c:f>
              <c:numCache>
                <c:formatCode>#,##0.0</c:formatCode>
                <c:ptCount val="5"/>
                <c:pt idx="0">
                  <c:v>71.8</c:v>
                </c:pt>
                <c:pt idx="1">
                  <c:v>74.7</c:v>
                </c:pt>
                <c:pt idx="2">
                  <c:v>76.92</c:v>
                </c:pt>
                <c:pt idx="3">
                  <c:v>75.22</c:v>
                </c:pt>
                <c:pt idx="4">
                  <c:v>81.900000000000006</c:v>
                </c:pt>
              </c:numCache>
            </c:numRef>
          </c:val>
        </c:ser>
        <c:ser>
          <c:idx val="0"/>
          <c:order val="1"/>
          <c:tx>
            <c:strRef>
              <c:f>Лист1!$A$3</c:f>
              <c:strCache>
                <c:ptCount val="1"/>
                <c:pt idx="0">
                  <c:v>сан. очистка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6 (отчет)</c:v>
                </c:pt>
                <c:pt idx="1">
                  <c:v>2017 (отчет)</c:v>
                </c:pt>
                <c:pt idx="2">
                  <c:v>2018 (отчет)</c:v>
                </c:pt>
                <c:pt idx="3">
                  <c:v>2019 (оценка)</c:v>
                </c:pt>
                <c:pt idx="4">
                  <c:v>2020 (план)</c:v>
                </c:pt>
              </c:strCache>
            </c:strRef>
          </c:cat>
          <c:val>
            <c:numRef>
              <c:f>Лист1!$B$3:$F$3</c:f>
              <c:numCache>
                <c:formatCode>#,##0.0</c:formatCode>
                <c:ptCount val="5"/>
                <c:pt idx="0">
                  <c:v>127.1</c:v>
                </c:pt>
                <c:pt idx="1">
                  <c:v>133.12</c:v>
                </c:pt>
                <c:pt idx="2">
                  <c:v>127.79</c:v>
                </c:pt>
                <c:pt idx="3">
                  <c:v>134.70999999999998</c:v>
                </c:pt>
                <c:pt idx="4">
                  <c:v>131.66999999999999</c:v>
                </c:pt>
              </c:numCache>
            </c:numRef>
          </c:val>
        </c:ser>
        <c:ser>
          <c:idx val="1"/>
          <c:order val="2"/>
          <c:tx>
            <c:strRef>
              <c:f>Лист1!$A$4</c:f>
              <c:strCache>
                <c:ptCount val="1"/>
                <c:pt idx="0">
                  <c:v>озеленение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6 (отчет)</c:v>
                </c:pt>
                <c:pt idx="1">
                  <c:v>2017 (отчет)</c:v>
                </c:pt>
                <c:pt idx="2">
                  <c:v>2018 (отчет)</c:v>
                </c:pt>
                <c:pt idx="3">
                  <c:v>2019 (оценка)</c:v>
                </c:pt>
                <c:pt idx="4">
                  <c:v>2020 (план)</c:v>
                </c:pt>
              </c:strCache>
            </c:strRef>
          </c:cat>
          <c:val>
            <c:numRef>
              <c:f>Лист1!$B$4:$F$4</c:f>
              <c:numCache>
                <c:formatCode>#,##0.0</c:formatCode>
                <c:ptCount val="5"/>
                <c:pt idx="0">
                  <c:v>52.9</c:v>
                </c:pt>
                <c:pt idx="1">
                  <c:v>63.82</c:v>
                </c:pt>
                <c:pt idx="2">
                  <c:v>67.55</c:v>
                </c:pt>
                <c:pt idx="3">
                  <c:v>73.92</c:v>
                </c:pt>
                <c:pt idx="4">
                  <c:v>63.48</c:v>
                </c:pt>
              </c:numCache>
            </c:numRef>
          </c:val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содержание мест захоронений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  <a:effectLst>
                      <a:glow rad="101600">
                        <a:schemeClr val="bg1">
                          <a:alpha val="60000"/>
                        </a:schemeClr>
                      </a:glow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6 (отчет)</c:v>
                </c:pt>
                <c:pt idx="1">
                  <c:v>2017 (отчет)</c:v>
                </c:pt>
                <c:pt idx="2">
                  <c:v>2018 (отчет)</c:v>
                </c:pt>
                <c:pt idx="3">
                  <c:v>2019 (оценка)</c:v>
                </c:pt>
                <c:pt idx="4">
                  <c:v>2020 (план)</c:v>
                </c:pt>
              </c:strCache>
            </c:strRef>
          </c:cat>
          <c:val>
            <c:numRef>
              <c:f>Лист1!$B$5:$F$5</c:f>
              <c:numCache>
                <c:formatCode>#,##0.0</c:formatCode>
                <c:ptCount val="5"/>
                <c:pt idx="0">
                  <c:v>5.0999999999999996</c:v>
                </c:pt>
                <c:pt idx="1">
                  <c:v>5.2</c:v>
                </c:pt>
                <c:pt idx="2">
                  <c:v>5.26</c:v>
                </c:pt>
                <c:pt idx="3">
                  <c:v>4.72</c:v>
                </c:pt>
                <c:pt idx="4">
                  <c:v>2.2999999999999998</c:v>
                </c:pt>
              </c:numCache>
            </c:numRef>
          </c:val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прочее благоустройство</c:v>
                </c:pt>
              </c:strCache>
            </c:strRef>
          </c:tx>
          <c:spPr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1.4167012568594249E-2"/>
                  <c:y val="-6.837606837606839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8.5002075411565667E-3"/>
                  <c:y val="-6.837606837606839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6686316405822851E-2"/>
                  <c:y val="-2.28580793814532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2667220109751002E-2"/>
                  <c:y val="-1.36752136752136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2.8334025137188527E-2"/>
                  <c:y val="-9.11680911680912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6 (отчет)</c:v>
                </c:pt>
                <c:pt idx="1">
                  <c:v>2017 (отчет)</c:v>
                </c:pt>
                <c:pt idx="2">
                  <c:v>2018 (отчет)</c:v>
                </c:pt>
                <c:pt idx="3">
                  <c:v>2019 (оценка)</c:v>
                </c:pt>
                <c:pt idx="4">
                  <c:v>2020 (план)</c:v>
                </c:pt>
              </c:strCache>
            </c:strRef>
          </c:cat>
          <c:val>
            <c:numRef>
              <c:f>Лист1!$B$6:$F$6</c:f>
              <c:numCache>
                <c:formatCode>#,##0.0</c:formatCode>
                <c:ptCount val="5"/>
                <c:pt idx="0">
                  <c:v>21.9</c:v>
                </c:pt>
                <c:pt idx="1">
                  <c:v>24.459999999999987</c:v>
                </c:pt>
                <c:pt idx="2">
                  <c:v>11.09</c:v>
                </c:pt>
                <c:pt idx="3">
                  <c:v>17.79</c:v>
                </c:pt>
                <c:pt idx="4">
                  <c:v>11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gapDepth val="95"/>
        <c:shape val="box"/>
        <c:axId val="219110016"/>
        <c:axId val="219124096"/>
        <c:axId val="0"/>
      </c:bar3DChart>
      <c:catAx>
        <c:axId val="219110016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219124096"/>
        <c:crosses val="autoZero"/>
        <c:auto val="1"/>
        <c:lblAlgn val="ctr"/>
        <c:lblOffset val="100"/>
        <c:noMultiLvlLbl val="0"/>
      </c:catAx>
      <c:valAx>
        <c:axId val="219124096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one"/>
        <c:crossAx val="219110016"/>
        <c:crosses val="autoZero"/>
        <c:crossBetween val="between"/>
      </c:valAx>
    </c:plotArea>
    <c:plotVisOnly val="0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5"/>
    </mc:Choice>
    <mc:Fallback>
      <c:style val="25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ства краевого бюджета
</c:v>
                </c:pt>
              </c:strCache>
            </c:strRef>
          </c:tx>
          <c:explosion val="5"/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1"/>
            <c:bubble3D val="0"/>
            <c:spPr>
              <a:solidFill>
                <a:srgbClr val="FF9900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198</a:t>
                    </a:r>
                    <a:r>
                      <a:rPr lang="ru-RU" smtClean="0"/>
                      <a:t>9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163</a:t>
                    </a:r>
                    <a:r>
                      <a:rPr lang="ru-RU" smtClean="0"/>
                      <a:t>3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4</c:f>
              <c:strCache>
                <c:ptCount val="3"/>
                <c:pt idx="0">
                  <c:v>Средства краевого бюджета
</c:v>
                </c:pt>
                <c:pt idx="1">
                  <c:v>Другие источники</c:v>
                </c:pt>
                <c:pt idx="2">
                  <c:v>Средства местного бюджет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988.6</c:v>
                </c:pt>
                <c:pt idx="1">
                  <c:v>510</c:v>
                </c:pt>
                <c:pt idx="2">
                  <c:v>1632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4262350256102974"/>
          <c:y val="2.4713195680261354E-2"/>
          <c:w val="0.34134772136854685"/>
          <c:h val="0.61741416997797827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zero"/>
    <c:showDLblsOverMax val="0"/>
  </c:chart>
  <c:spPr>
    <a:scene3d>
      <a:camera prst="orthographicFront"/>
      <a:lightRig rig="threePt" dir="t"/>
    </a:scene3d>
    <a:sp3d prstMaterial="matte">
      <a:bevelT w="127000" h="63500"/>
    </a:sp3d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5"/>
    </mc:Choice>
    <mc:Fallback>
      <c:style val="25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ства краевого бюджета
</c:v>
                </c:pt>
              </c:strCache>
            </c:strRef>
          </c:tx>
          <c:explosion val="4"/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1"/>
            <c:bubble3D val="0"/>
            <c:spPr>
              <a:solidFill>
                <a:srgbClr val="FF9900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dLbls>
            <c:dLbl>
              <c:idx val="0"/>
              <c:layout>
                <c:manualLayout>
                  <c:x val="-0.18764972891904519"/>
                  <c:y val="-0.14308856989100829"/>
                </c:manualLayout>
              </c:layout>
              <c:spPr/>
              <c:txPr>
                <a:bodyPr/>
                <a:lstStyle/>
                <a:p>
                  <a:pPr>
                    <a:defRPr sz="1800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16853169361303158"/>
                  <c:y val="0.12733682522794187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dirty="0" smtClean="0"/>
                      <a:t>2347</a:t>
                    </a:r>
                    <a:endParaRPr lang="en-US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1!$A$2:$A$4</c:f>
              <c:strCache>
                <c:ptCount val="3"/>
                <c:pt idx="0">
                  <c:v>Средства краевого бюджета
</c:v>
                </c:pt>
                <c:pt idx="1">
                  <c:v>Другие источники</c:v>
                </c:pt>
                <c:pt idx="2">
                  <c:v>Средства местного бюджет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00</c:v>
                </c:pt>
                <c:pt idx="1">
                  <c:v>502</c:v>
                </c:pt>
                <c:pt idx="2">
                  <c:v>2347.1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spPr>
    <a:scene3d>
      <a:camera prst="orthographicFront"/>
      <a:lightRig rig="threePt" dir="t"/>
    </a:scene3d>
    <a:sp3d prstMaterial="matte">
      <a:bevelT w="127000" h="63500"/>
    </a:sp3d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8535552"/>
        <c:axId val="168556800"/>
      </c:barChart>
      <c:catAx>
        <c:axId val="168535552"/>
        <c:scaling>
          <c:orientation val="minMax"/>
        </c:scaling>
        <c:delete val="1"/>
        <c:axPos val="b"/>
        <c:majorTickMark val="out"/>
        <c:minorTickMark val="none"/>
        <c:tickLblPos val="nextTo"/>
        <c:crossAx val="168556800"/>
        <c:crosses val="autoZero"/>
        <c:auto val="1"/>
        <c:lblAlgn val="ctr"/>
        <c:lblOffset val="100"/>
        <c:noMultiLvlLbl val="0"/>
      </c:catAx>
      <c:valAx>
        <c:axId val="168556800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16853555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503076459704833"/>
          <c:y val="0"/>
          <c:w val="0.68169398907103829"/>
          <c:h val="0.91896869244935564"/>
        </c:manualLayout>
      </c:layout>
      <c:doughnutChart>
        <c:varyColors val="1"/>
        <c:ser>
          <c:idx val="0"/>
          <c:order val="0"/>
          <c:spPr>
            <a:scene3d>
              <a:camera prst="orthographicFront"/>
              <a:lightRig rig="threePt" dir="t"/>
            </a:scene3d>
            <a:sp3d>
              <a:bevelT/>
            </a:sp3d>
          </c:spPr>
          <c:explosion val="9"/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bubble3D val="0"/>
            <c:spPr>
              <a:solidFill>
                <a:srgbClr val="0000FF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val>
            <c:numRef>
              <c:f>'расходы по статьям с инвестиция'!$AF$60:$AG$60</c:f>
              <c:numCache>
                <c:formatCode>General</c:formatCode>
                <c:ptCount val="2"/>
                <c:pt idx="0">
                  <c:v>212.19399999999999</c:v>
                </c:pt>
                <c:pt idx="1">
                  <c:v>2.475999999999997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 algn="ctr" rtl="0" fontAlgn="base">
        <a:lnSpc>
          <a:spcPts val="1600"/>
        </a:lnSpc>
        <a:spcBef>
          <a:spcPct val="0"/>
        </a:spcBef>
        <a:spcAft>
          <a:spcPct val="0"/>
        </a:spcAft>
        <a:defRPr lang="ru-RU" sz="2000" kern="1200" dirty="0" smtClean="0">
          <a:solidFill>
            <a:srgbClr val="002060"/>
          </a:solidFill>
          <a:latin typeface="+mj-lt"/>
          <a:ea typeface="+mn-ea"/>
          <a:cs typeface="Arial" charset="0"/>
        </a:defRPr>
      </a:pPr>
      <a:endParaRPr lang="ru-RU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555558897152103E-2"/>
          <c:y val="0"/>
          <c:w val="0.96944444110284789"/>
          <c:h val="0.77164697285413086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ъем муниципального долга</c:v>
                </c:pt>
              </c:strCache>
            </c:strRef>
          </c:tx>
          <c:spPr>
            <a:ln w="82550">
              <a:solidFill>
                <a:srgbClr val="FF9933"/>
              </a:solidFill>
            </a:ln>
          </c:spPr>
          <c:marker>
            <c:symbol val="circle"/>
            <c:size val="68"/>
            <c:spPr>
              <a:solidFill>
                <a:srgbClr val="FF9933"/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0.10000001093613427"/>
                  <c:y val="-1.3343749739536431E-3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9.5833343813795255E-2"/>
                  <c:y val="-5.9313568662047516E-3"/>
                </c:manualLayout>
              </c:layout>
              <c:spPr/>
              <c:txPr>
                <a:bodyPr/>
                <a:lstStyle/>
                <a:p>
                  <a:pPr algn="ctr" rtl="0">
                    <a:defRPr lang="en-US"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9.3055565732236362E-2"/>
                  <c:y val="6.5725058031988713E-3"/>
                </c:manualLayout>
              </c:layout>
              <c:spPr/>
              <c:txPr>
                <a:bodyPr/>
                <a:lstStyle/>
                <a:p>
                  <a:pPr algn="ctr" rtl="0">
                    <a:defRPr lang="en-US"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7.5000008202100663E-2"/>
                  <c:y val="2.224512792856962E-3"/>
                </c:manualLayout>
              </c:layout>
              <c:spPr/>
              <c:txPr>
                <a:bodyPr/>
                <a:lstStyle/>
                <a:p>
                  <a:pPr algn="ctr" rtl="0">
                    <a:defRPr lang="en-US"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1.1111112326237141E-2"/>
                  <c:y val="0.117844418383872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8.3333342446778747E-3"/>
                  <c:y val="6.44745325596389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5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Прогноз  2019</c:v>
                </c:pt>
                <c:pt idx="3">
                  <c:v>план 2020</c:v>
                </c:pt>
              </c:strCache>
            </c:strRef>
          </c:cat>
          <c:val>
            <c:numRef>
              <c:f>Лист1!$B$2:$B$5</c:f>
              <c:numCache>
                <c:formatCode>0.00%</c:formatCode>
                <c:ptCount val="4"/>
                <c:pt idx="0">
                  <c:v>0.58439999999999959</c:v>
                </c:pt>
                <c:pt idx="1">
                  <c:v>0.6330000000000009</c:v>
                </c:pt>
                <c:pt idx="2">
                  <c:v>0.68500000000000005</c:v>
                </c:pt>
                <c:pt idx="3">
                  <c:v>0.6550000000000010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Прогноз  2019</c:v>
                </c:pt>
                <c:pt idx="3">
                  <c:v>план 2020</c:v>
                </c:pt>
              </c:strCache>
            </c:strRef>
          </c:cat>
          <c:val>
            <c:numRef>
              <c:f>Лист1!$C$2:$C$5</c:f>
            </c:numRef>
          </c:val>
          <c:smooth val="0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2017</c:v>
                </c:pt>
                <c:pt idx="1">
                  <c:v>2018</c:v>
                </c:pt>
                <c:pt idx="2">
                  <c:v>Прогноз  2019</c:v>
                </c:pt>
                <c:pt idx="3">
                  <c:v>план 2020</c:v>
                </c:pt>
              </c:strCache>
            </c:strRef>
          </c:cat>
          <c:val>
            <c:numRef>
              <c:f>Лист1!$D$2:$D$5</c:f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635776"/>
        <c:axId val="168641664"/>
      </c:lineChart>
      <c:catAx>
        <c:axId val="168635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800" b="1">
                <a:solidFill>
                  <a:srgbClr val="002060"/>
                </a:solidFill>
              </a:defRPr>
            </a:pPr>
            <a:endParaRPr lang="ru-RU"/>
          </a:p>
        </c:txPr>
        <c:crossAx val="168641664"/>
        <c:crosses val="autoZero"/>
        <c:auto val="1"/>
        <c:lblAlgn val="ctr"/>
        <c:lblOffset val="100"/>
        <c:noMultiLvlLbl val="0"/>
      </c:catAx>
      <c:valAx>
        <c:axId val="168641664"/>
        <c:scaling>
          <c:orientation val="minMax"/>
          <c:max val="0.8"/>
          <c:min val="0.5"/>
        </c:scaling>
        <c:delete val="1"/>
        <c:axPos val="l"/>
        <c:numFmt formatCode="0.00%" sourceLinked="1"/>
        <c:majorTickMark val="out"/>
        <c:minorTickMark val="none"/>
        <c:tickLblPos val="nextTo"/>
        <c:crossAx val="1686357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 w="92075">
              <a:solidFill>
                <a:schemeClr val="accent5">
                  <a:lumMod val="50000"/>
                </a:schemeClr>
              </a:solidFill>
            </a:ln>
          </c:spPr>
          <c:marker>
            <c:symbol val="square"/>
            <c:size val="54"/>
            <c:spPr>
              <a:solidFill>
                <a:schemeClr val="accent5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8.055555555555574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8.3333333333333343E-2"/>
                  <c:y val="-6.006006006006009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8.055555555555574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8.055555555555574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[Диаграмма в Microsoft Office PowerPoint]Лист1'!$B$15:$B$18</c:f>
              <c:numCache>
                <c:formatCode>0.00%</c:formatCode>
                <c:ptCount val="4"/>
                <c:pt idx="0">
                  <c:v>9.3400000000000025E-2</c:v>
                </c:pt>
                <c:pt idx="1">
                  <c:v>8.2000000000000003E-2</c:v>
                </c:pt>
                <c:pt idx="2">
                  <c:v>7.5000000000000011E-2</c:v>
                </c:pt>
                <c:pt idx="3">
                  <c:v>7.300000000000000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9446912"/>
        <c:axId val="179448448"/>
      </c:lineChart>
      <c:catAx>
        <c:axId val="179446912"/>
        <c:scaling>
          <c:orientation val="minMax"/>
        </c:scaling>
        <c:delete val="1"/>
        <c:axPos val="b"/>
        <c:majorTickMark val="out"/>
        <c:minorTickMark val="none"/>
        <c:tickLblPos val="nextTo"/>
        <c:crossAx val="179448448"/>
        <c:crosses val="autoZero"/>
        <c:auto val="1"/>
        <c:lblAlgn val="ctr"/>
        <c:lblOffset val="100"/>
        <c:noMultiLvlLbl val="0"/>
      </c:catAx>
      <c:valAx>
        <c:axId val="179448448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17944691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32251720747352E-2"/>
          <c:y val="2.4390243902439025E-2"/>
          <c:w val="0.62466850935668461"/>
          <c:h val="0.7534801442502594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Налоговые!$A$2</c:f>
              <c:strCache>
                <c:ptCount val="1"/>
                <c:pt idx="0">
                  <c:v>НДФЛ 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2:$F$2</c:f>
              <c:numCache>
                <c:formatCode>0</c:formatCode>
                <c:ptCount val="5"/>
                <c:pt idx="0" formatCode="0.0">
                  <c:v>608</c:v>
                </c:pt>
                <c:pt idx="1">
                  <c:v>763.9</c:v>
                </c:pt>
                <c:pt idx="2">
                  <c:v>1059.9000000000001</c:v>
                </c:pt>
                <c:pt idx="3" formatCode="General">
                  <c:v>1005</c:v>
                </c:pt>
                <c:pt idx="4">
                  <c:v>1036.5</c:v>
                </c:pt>
              </c:numCache>
            </c:numRef>
          </c:val>
        </c:ser>
        <c:ser>
          <c:idx val="1"/>
          <c:order val="1"/>
          <c:tx>
            <c:strRef>
              <c:f>Налоговые!$A$3</c:f>
              <c:strCache>
                <c:ptCount val="1"/>
                <c:pt idx="0">
                  <c:v>Налог на совокупный доход </c:v>
                </c:pt>
              </c:strCache>
            </c:strRef>
          </c:tx>
          <c:spPr>
            <a:solidFill>
              <a:srgbClr val="FF3300"/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3:$F$3</c:f>
              <c:numCache>
                <c:formatCode>0</c:formatCode>
                <c:ptCount val="5"/>
                <c:pt idx="0" formatCode="0.0">
                  <c:v>197</c:v>
                </c:pt>
                <c:pt idx="1">
                  <c:v>203.4</c:v>
                </c:pt>
                <c:pt idx="2">
                  <c:v>175.1</c:v>
                </c:pt>
                <c:pt idx="3" formatCode="General">
                  <c:v>57</c:v>
                </c:pt>
                <c:pt idx="4">
                  <c:v>20.5</c:v>
                </c:pt>
              </c:numCache>
            </c:numRef>
          </c:val>
        </c:ser>
        <c:ser>
          <c:idx val="2"/>
          <c:order val="2"/>
          <c:tx>
            <c:strRef>
              <c:f>Налоговые!$A$4</c:f>
              <c:strCache>
                <c:ptCount val="1"/>
                <c:pt idx="0">
                  <c:v>Земельный налог </c:v>
                </c:pt>
              </c:strCache>
            </c:strRef>
          </c:tx>
          <c:spPr>
            <a:solidFill>
              <a:schemeClr val="accent5">
                <a:lumMod val="25000"/>
              </a:schemeClr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4:$F$4</c:f>
              <c:numCache>
                <c:formatCode>0</c:formatCode>
                <c:ptCount val="5"/>
                <c:pt idx="0" formatCode="0.0">
                  <c:v>172</c:v>
                </c:pt>
                <c:pt idx="1">
                  <c:v>185.3</c:v>
                </c:pt>
                <c:pt idx="2">
                  <c:v>176.5</c:v>
                </c:pt>
                <c:pt idx="3">
                  <c:v>176.5</c:v>
                </c:pt>
                <c:pt idx="4">
                  <c:v>176.6</c:v>
                </c:pt>
              </c:numCache>
            </c:numRef>
          </c:val>
        </c:ser>
        <c:ser>
          <c:idx val="3"/>
          <c:order val="3"/>
          <c:tx>
            <c:strRef>
              <c:f>Налоговые!$A$5</c:f>
              <c:strCache>
                <c:ptCount val="1"/>
                <c:pt idx="0">
                  <c:v>Налог на имущество физических лиц </c:v>
                </c:pt>
              </c:strCache>
            </c:strRef>
          </c:tx>
          <c:spPr>
            <a:solidFill>
              <a:srgbClr val="7030A0"/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5:$F$5</c:f>
              <c:numCache>
                <c:formatCode>0</c:formatCode>
                <c:ptCount val="5"/>
                <c:pt idx="0" formatCode="0.0">
                  <c:v>117</c:v>
                </c:pt>
                <c:pt idx="1">
                  <c:v>97.2</c:v>
                </c:pt>
                <c:pt idx="2">
                  <c:v>140.69999999999999</c:v>
                </c:pt>
                <c:pt idx="3">
                  <c:v>154.69999999999999</c:v>
                </c:pt>
                <c:pt idx="4">
                  <c:v>170.2</c:v>
                </c:pt>
              </c:numCache>
            </c:numRef>
          </c:val>
        </c:ser>
        <c:ser>
          <c:idx val="4"/>
          <c:order val="4"/>
          <c:tx>
            <c:strRef>
              <c:f>Налоговые!$A$6</c:f>
              <c:strCache>
                <c:ptCount val="1"/>
                <c:pt idx="0">
                  <c:v>Акцизы 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6:$F$6</c:f>
              <c:numCache>
                <c:formatCode>0</c:formatCode>
                <c:ptCount val="5"/>
                <c:pt idx="0" formatCode="0.0">
                  <c:v>18</c:v>
                </c:pt>
                <c:pt idx="1">
                  <c:v>19.3</c:v>
                </c:pt>
                <c:pt idx="2">
                  <c:v>22.5</c:v>
                </c:pt>
                <c:pt idx="3">
                  <c:v>23.7</c:v>
                </c:pt>
                <c:pt idx="4">
                  <c:v>25</c:v>
                </c:pt>
              </c:numCache>
            </c:numRef>
          </c:val>
        </c:ser>
        <c:ser>
          <c:idx val="5"/>
          <c:order val="5"/>
          <c:tx>
            <c:strRef>
              <c:f>Налоговые!$A$7</c:f>
              <c:strCache>
                <c:ptCount val="1"/>
                <c:pt idx="0">
                  <c:v>Государственная пошлина </c:v>
                </c:pt>
              </c:strCache>
            </c:strRef>
          </c:tx>
          <c:spPr>
            <a:solidFill>
              <a:srgbClr val="0000FF"/>
            </a:solidFill>
          </c:spPr>
          <c:invertIfNegative val="0"/>
          <c:cat>
            <c:strRef>
              <c:f>Налоговые!$B$1:$F$1</c:f>
              <c:strCache>
                <c:ptCount val="5"/>
                <c:pt idx="0">
                  <c:v>2018</c:v>
                </c:pt>
                <c:pt idx="1">
                  <c:v>Оценка 2019</c:v>
                </c:pt>
                <c:pt idx="2">
                  <c:v>План 2020</c:v>
                </c:pt>
                <c:pt idx="3">
                  <c:v> Прогноз 2021</c:v>
                </c:pt>
                <c:pt idx="4">
                  <c:v>Прогноз 2022</c:v>
                </c:pt>
              </c:strCache>
            </c:strRef>
          </c:cat>
          <c:val>
            <c:numRef>
              <c:f>Налоговые!$B$7:$F$7</c:f>
              <c:numCache>
                <c:formatCode>0</c:formatCode>
                <c:ptCount val="5"/>
                <c:pt idx="0" formatCode="0.0">
                  <c:v>26</c:v>
                </c:pt>
                <c:pt idx="1">
                  <c:v>28.3</c:v>
                </c:pt>
                <c:pt idx="2">
                  <c:v>33.700000000000003</c:v>
                </c:pt>
                <c:pt idx="3">
                  <c:v>36.9</c:v>
                </c:pt>
                <c:pt idx="4">
                  <c:v>4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7925248"/>
        <c:axId val="167926784"/>
      </c:barChart>
      <c:catAx>
        <c:axId val="16792524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67926784"/>
        <c:crosses val="autoZero"/>
        <c:auto val="1"/>
        <c:lblAlgn val="ctr"/>
        <c:lblOffset val="100"/>
        <c:noMultiLvlLbl val="0"/>
      </c:catAx>
      <c:valAx>
        <c:axId val="167926784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1679252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6793301279818273"/>
          <c:y val="5.5821863730448319E-2"/>
          <c:w val="0.3202675771723234"/>
          <c:h val="0.87209610993747722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 w="92075">
              <a:solidFill>
                <a:schemeClr val="accent5">
                  <a:lumMod val="25000"/>
                </a:schemeClr>
              </a:solidFill>
            </a:ln>
          </c:spPr>
          <c:marker>
            <c:symbol val="square"/>
            <c:size val="13"/>
            <c:spPr>
              <a:solidFill>
                <a:schemeClr val="accent5">
                  <a:lumMod val="2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6.9869011649190918E-2"/>
                  <c:y val="-0.149122910017205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9869011649190918E-2"/>
                  <c:y val="-0.157894845900570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6.1135385193041798E-2"/>
                  <c:y val="-0.1403509741338403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9869011649190918E-2"/>
                  <c:y val="-0.149122910017205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6.1135385193041798E-2"/>
                  <c:y val="-0.149122910017205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 algn="ctr">
                  <a:defRPr lang="ru-RU" sz="1800" b="1" i="0" u="none" strike="noStrike" kern="1200" baseline="0" dirty="0" smtClean="0">
                    <a:solidFill>
                      <a:srgbClr val="002060"/>
                    </a:solidFill>
                    <a:latin typeface="Arial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Налоговые!$B$57:$F$57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Налоговые!$B$58:$F$58</c:f>
              <c:numCache>
                <c:formatCode>0</c:formatCode>
                <c:ptCount val="5"/>
                <c:pt idx="0" formatCode="General">
                  <c:v>1138</c:v>
                </c:pt>
                <c:pt idx="1">
                  <c:v>1297.3999999999999</c:v>
                </c:pt>
                <c:pt idx="2">
                  <c:v>1609</c:v>
                </c:pt>
                <c:pt idx="3">
                  <c:v>1453.8000000000002</c:v>
                </c:pt>
                <c:pt idx="4">
                  <c:v>147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947264"/>
        <c:axId val="167961344"/>
      </c:lineChart>
      <c:catAx>
        <c:axId val="1679472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7961344"/>
        <c:crosses val="autoZero"/>
        <c:auto val="1"/>
        <c:lblAlgn val="ctr"/>
        <c:lblOffset val="100"/>
        <c:noMultiLvlLbl val="0"/>
      </c:catAx>
      <c:valAx>
        <c:axId val="16796134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6794726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1"/>
            <c:bubble3D val="0"/>
            <c:spPr>
              <a:solidFill>
                <a:srgbClr val="FF3300"/>
              </a:solidFill>
            </c:spPr>
          </c:dPt>
          <c:dPt>
            <c:idx val="2"/>
            <c:bubble3D val="0"/>
            <c:spPr>
              <a:solidFill>
                <a:schemeClr val="accent1">
                  <a:lumMod val="25000"/>
                </a:schemeClr>
              </a:solidFill>
            </c:spPr>
          </c:dPt>
          <c:dPt>
            <c:idx val="3"/>
            <c:bubble3D val="0"/>
            <c:spPr>
              <a:solidFill>
                <a:srgbClr val="8D1DE1"/>
              </a:solidFill>
            </c:spPr>
          </c:dPt>
          <c:dPt>
            <c:idx val="4"/>
            <c:bubble3D val="0"/>
            <c:spPr>
              <a:solidFill>
                <a:srgbClr val="00B0F0"/>
              </a:solidFill>
            </c:spPr>
          </c:dPt>
          <c:dPt>
            <c:idx val="5"/>
            <c:bubble3D val="0"/>
            <c:spPr>
              <a:solidFill>
                <a:srgbClr val="0000FF"/>
              </a:solidFill>
            </c:spPr>
          </c:dPt>
          <c:dLbls>
            <c:dLbl>
              <c:idx val="4"/>
              <c:layout>
                <c:manualLayout>
                  <c:x val="-5.5555555555555455E-2"/>
                  <c:y val="-0.146167516901057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2.7777777777777922E-2"/>
                  <c:y val="-0.156862701064549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ru-RU" sz="1800" b="1" kern="1200" dirty="0" smtClean="0">
                    <a:solidFill>
                      <a:srgbClr val="002060"/>
                    </a:solidFill>
                    <a:latin typeface="Arial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val>
            <c:numRef>
              <c:f>Налоговые!$C$13:$C$18</c:f>
              <c:numCache>
                <c:formatCode>0%</c:formatCode>
                <c:ptCount val="6"/>
                <c:pt idx="0">
                  <c:v>0.66037383177570164</c:v>
                </c:pt>
                <c:pt idx="1">
                  <c:v>0.10909657320872311</c:v>
                </c:pt>
                <c:pt idx="2">
                  <c:v>0.10996884735202492</c:v>
                </c:pt>
                <c:pt idx="3">
                  <c:v>8.7663551401869197E-2</c:v>
                </c:pt>
                <c:pt idx="4">
                  <c:v>1.4018691588785038E-2</c:v>
                </c:pt>
                <c:pt idx="5">
                  <c:v>2.0996884735202406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 w="73025">
              <a:solidFill>
                <a:schemeClr val="bg2">
                  <a:lumMod val="75000"/>
                </a:schemeClr>
              </a:solidFill>
            </a:ln>
          </c:spPr>
          <c:marker>
            <c:symbol val="square"/>
            <c:size val="11"/>
            <c:spPr>
              <a:solidFill>
                <a:schemeClr val="bg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8.5356880058867268E-2"/>
                  <c:y val="-0.270438154526921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11184694628403249"/>
                  <c:y val="-0.294546228690358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10596026490066222"/>
                  <c:y val="-0.299503937490096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8.2413539367181377E-2"/>
                  <c:y val="-0.2519685039370095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8263428991905921E-2"/>
                  <c:y val="-0.2414698162729665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 algn="ctr">
                  <a:defRPr lang="ru-RU" sz="1800" b="1" i="0" u="none" strike="noStrike" kern="1200" baseline="0" dirty="0" smtClean="0">
                    <a:solidFill>
                      <a:srgbClr val="002060"/>
                    </a:solidFill>
                    <a:latin typeface="Arial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Неналоговые!$B$13:$F$13</c:f>
              <c:numCache>
                <c:formatCode>General</c:formatCode>
                <c:ptCount val="5"/>
                <c:pt idx="0">
                  <c:v>236</c:v>
                </c:pt>
                <c:pt idx="1">
                  <c:v>188</c:v>
                </c:pt>
                <c:pt idx="2">
                  <c:v>177</c:v>
                </c:pt>
                <c:pt idx="3">
                  <c:v>182</c:v>
                </c:pt>
                <c:pt idx="4">
                  <c:v>17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622720"/>
        <c:axId val="169935232"/>
      </c:lineChart>
      <c:catAx>
        <c:axId val="168622720"/>
        <c:scaling>
          <c:orientation val="minMax"/>
        </c:scaling>
        <c:delete val="1"/>
        <c:axPos val="b"/>
        <c:majorTickMark val="out"/>
        <c:minorTickMark val="none"/>
        <c:tickLblPos val="nextTo"/>
        <c:crossAx val="169935232"/>
        <c:crosses val="autoZero"/>
        <c:auto val="1"/>
        <c:lblAlgn val="ctr"/>
        <c:lblOffset val="100"/>
        <c:noMultiLvlLbl val="0"/>
      </c:catAx>
      <c:valAx>
        <c:axId val="1699352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686227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474347245521089E-2"/>
          <c:y val="0.14091559370529419"/>
          <c:w val="0.80448722882918711"/>
          <c:h val="0.71816903788314235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2"/>
            <c:bubble3D val="0"/>
            <c:spPr>
              <a:solidFill>
                <a:schemeClr val="tx2">
                  <a:lumMod val="25000"/>
                </a:schemeClr>
              </a:solidFill>
            </c:spPr>
          </c:dPt>
          <c:dPt>
            <c:idx val="3"/>
            <c:bubble3D val="0"/>
            <c:spPr>
              <a:solidFill>
                <a:schemeClr val="bg2">
                  <a:lumMod val="75000"/>
                </a:schemeClr>
              </a:solidFill>
            </c:spPr>
          </c:dPt>
          <c:dPt>
            <c:idx val="5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Lbls>
            <c:dLbl>
              <c:idx val="2"/>
              <c:layout>
                <c:manualLayout>
                  <c:x val="-0.12206569761667529"/>
                  <c:y val="-7.72532188841201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9.0767047239893761E-2"/>
                  <c:y val="-0.111587982832617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delete val="1"/>
            </c:dLbl>
            <c:txPr>
              <a:bodyPr/>
              <a:lstStyle/>
              <a:p>
                <a:pPr algn="ctr">
                  <a:defRPr lang="ru-RU" sz="2000" b="1" i="0" u="none" strike="noStrike" kern="1200" baseline="0" dirty="0" smtClean="0">
                    <a:solidFill>
                      <a:srgbClr val="002060"/>
                    </a:solidFill>
                    <a:latin typeface="Arial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Неналоговые!$A$25:$A$30</c:f>
              <c:strCache>
                <c:ptCount val="6"/>
                <c:pt idx="0">
                  <c:v>Доходы от использования муниципального имущества</c:v>
                </c:pt>
                <c:pt idx="1">
                  <c:v>Доходы от продажи муниципального имущества </c:v>
                </c:pt>
                <c:pt idx="2">
                  <c:v>Штрафы </c:v>
                </c:pt>
                <c:pt idx="3">
                  <c:v>Доходы от оказания платных услуг </c:v>
                </c:pt>
                <c:pt idx="4">
                  <c:v>Платежи при пользовании природными ресурсами </c:v>
                </c:pt>
                <c:pt idx="5">
                  <c:v>Прочие неналоговые доходы </c:v>
                </c:pt>
              </c:strCache>
            </c:strRef>
          </c:cat>
          <c:val>
            <c:numRef>
              <c:f>Неналоговые!$B$25:$B$30</c:f>
              <c:numCache>
                <c:formatCode>0%</c:formatCode>
                <c:ptCount val="6"/>
                <c:pt idx="0">
                  <c:v>0.65155807365439511</c:v>
                </c:pt>
                <c:pt idx="1">
                  <c:v>0.20793201133144548</c:v>
                </c:pt>
                <c:pt idx="2">
                  <c:v>3.1161473087818695E-2</c:v>
                </c:pt>
                <c:pt idx="3">
                  <c:v>3.0028328611898008E-2</c:v>
                </c:pt>
                <c:pt idx="4">
                  <c:v>5.6657223796034001E-4</c:v>
                </c:pt>
                <c:pt idx="5">
                  <c:v>7.87535410764872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Неналоговые!$A$2</c:f>
              <c:strCache>
                <c:ptCount val="1"/>
                <c:pt idx="0">
                  <c:v>Доходы от использования муниципального имущества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val>
            <c:numRef>
              <c:f>Неналоговые!$B$2:$F$2</c:f>
              <c:numCache>
                <c:formatCode>General</c:formatCode>
                <c:ptCount val="5"/>
                <c:pt idx="0">
                  <c:v>157</c:v>
                </c:pt>
                <c:pt idx="1">
                  <c:v>91.1</c:v>
                </c:pt>
                <c:pt idx="2">
                  <c:v>115</c:v>
                </c:pt>
                <c:pt idx="3">
                  <c:v>115</c:v>
                </c:pt>
                <c:pt idx="4">
                  <c:v>115.5</c:v>
                </c:pt>
              </c:numCache>
            </c:numRef>
          </c:val>
        </c:ser>
        <c:ser>
          <c:idx val="1"/>
          <c:order val="1"/>
          <c:tx>
            <c:strRef>
              <c:f>Неналоговые!$A$3</c:f>
              <c:strCache>
                <c:ptCount val="1"/>
                <c:pt idx="0">
                  <c:v>Доходы от продажи муниципального имущества </c:v>
                </c:pt>
              </c:strCache>
            </c:strRef>
          </c:tx>
          <c:invertIfNegative val="0"/>
          <c:val>
            <c:numRef>
              <c:f>Неналоговые!$B$3:$F$3</c:f>
              <c:numCache>
                <c:formatCode>General</c:formatCode>
                <c:ptCount val="5"/>
                <c:pt idx="0">
                  <c:v>26</c:v>
                </c:pt>
                <c:pt idx="1">
                  <c:v>67.5</c:v>
                </c:pt>
                <c:pt idx="2">
                  <c:v>36.700000000000003</c:v>
                </c:pt>
                <c:pt idx="3">
                  <c:v>41.9</c:v>
                </c:pt>
                <c:pt idx="4">
                  <c:v>28.8</c:v>
                </c:pt>
              </c:numCache>
            </c:numRef>
          </c:val>
        </c:ser>
        <c:ser>
          <c:idx val="2"/>
          <c:order val="2"/>
          <c:tx>
            <c:strRef>
              <c:f>Неналоговые!$A$4</c:f>
              <c:strCache>
                <c:ptCount val="1"/>
                <c:pt idx="0">
                  <c:v>Штрафы </c:v>
                </c:pt>
              </c:strCache>
            </c:strRef>
          </c:tx>
          <c:spPr>
            <a:solidFill>
              <a:schemeClr val="tx2">
                <a:lumMod val="25000"/>
              </a:schemeClr>
            </a:solidFill>
          </c:spPr>
          <c:invertIfNegative val="0"/>
          <c:val>
            <c:numRef>
              <c:f>Неналоговые!$B$4:$F$4</c:f>
              <c:numCache>
                <c:formatCode>General</c:formatCode>
                <c:ptCount val="5"/>
                <c:pt idx="0">
                  <c:v>20</c:v>
                </c:pt>
                <c:pt idx="1">
                  <c:v>11.9</c:v>
                </c:pt>
                <c:pt idx="2">
                  <c:v>5.5</c:v>
                </c:pt>
                <c:pt idx="3">
                  <c:v>5.5</c:v>
                </c:pt>
                <c:pt idx="4">
                  <c:v>5.5</c:v>
                </c:pt>
              </c:numCache>
            </c:numRef>
          </c:val>
        </c:ser>
        <c:ser>
          <c:idx val="3"/>
          <c:order val="3"/>
          <c:tx>
            <c:strRef>
              <c:f>Неналоговые!$A$5</c:f>
              <c:strCache>
                <c:ptCount val="1"/>
                <c:pt idx="0">
                  <c:v>Доходы от оказания платных услуг 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</c:spPr>
          <c:invertIfNegative val="0"/>
          <c:val>
            <c:numRef>
              <c:f>Неналоговые!$B$5:$F$5</c:f>
              <c:numCache>
                <c:formatCode>General</c:formatCode>
                <c:ptCount val="5"/>
                <c:pt idx="0">
                  <c:v>12</c:v>
                </c:pt>
                <c:pt idx="1">
                  <c:v>10.1</c:v>
                </c:pt>
                <c:pt idx="2">
                  <c:v>5.3</c:v>
                </c:pt>
                <c:pt idx="3">
                  <c:v>5.3</c:v>
                </c:pt>
                <c:pt idx="4">
                  <c:v>5.3</c:v>
                </c:pt>
              </c:numCache>
            </c:numRef>
          </c:val>
        </c:ser>
        <c:ser>
          <c:idx val="4"/>
          <c:order val="4"/>
          <c:tx>
            <c:strRef>
              <c:f>Неналоговые!$A$6</c:f>
              <c:strCache>
                <c:ptCount val="1"/>
                <c:pt idx="0">
                  <c:v>Платежи при пользовании природными ресурсами 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val>
            <c:numRef>
              <c:f>Неналоговые!$B$6:$F$6</c:f>
              <c:numCache>
                <c:formatCode>General</c:formatCode>
                <c:ptCount val="5"/>
                <c:pt idx="0">
                  <c:v>4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</c:numCache>
            </c:numRef>
          </c:val>
        </c:ser>
        <c:ser>
          <c:idx val="5"/>
          <c:order val="5"/>
          <c:tx>
            <c:strRef>
              <c:f>Неналоговые!$A$7</c:f>
              <c:strCache>
                <c:ptCount val="1"/>
                <c:pt idx="0">
                  <c:v>Прочие неналоговые доходы 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</c:spPr>
          <c:invertIfNegative val="0"/>
          <c:val>
            <c:numRef>
              <c:f>Неналоговые!$B$7:$F$7</c:f>
              <c:numCache>
                <c:formatCode>General</c:formatCode>
                <c:ptCount val="5"/>
                <c:pt idx="0">
                  <c:v>18</c:v>
                </c:pt>
                <c:pt idx="1">
                  <c:v>7.5</c:v>
                </c:pt>
                <c:pt idx="2">
                  <c:v>13.9</c:v>
                </c:pt>
                <c:pt idx="3">
                  <c:v>13.9</c:v>
                </c:pt>
                <c:pt idx="4">
                  <c:v>1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6835584"/>
        <c:axId val="176841472"/>
      </c:barChart>
      <c:catAx>
        <c:axId val="176835584"/>
        <c:scaling>
          <c:orientation val="minMax"/>
        </c:scaling>
        <c:delete val="1"/>
        <c:axPos val="b"/>
        <c:majorTickMark val="out"/>
        <c:minorTickMark val="none"/>
        <c:tickLblPos val="nextTo"/>
        <c:crossAx val="176841472"/>
        <c:crosses val="autoZero"/>
        <c:auto val="1"/>
        <c:lblAlgn val="ctr"/>
        <c:lblOffset val="100"/>
        <c:noMultiLvlLbl val="0"/>
      </c:catAx>
      <c:valAx>
        <c:axId val="17684147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7683558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096879144523919"/>
          <c:y val="2.6149682291940687E-2"/>
          <c:w val="0.37617780992923766"/>
          <c:h val="0.97385031770805963"/>
        </c:manualLayout>
      </c:layout>
      <c:overlay val="0"/>
      <c:txPr>
        <a:bodyPr/>
        <a:lstStyle/>
        <a:p>
          <a:pPr>
            <a:defRPr sz="1400">
              <a:solidFill>
                <a:schemeClr val="bg1"/>
              </a:solidFill>
              <a:latin typeface="Arial" pitchFamily="34" charset="0"/>
              <a:cs typeface="Arial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848A745-313A-43B2-BCBB-A2D4AF522013}" type="doc">
      <dgm:prSet loTypeId="urn:microsoft.com/office/officeart/2005/8/layout/pyramid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C371C7B-BEA7-4037-87C5-09CD4774B927}">
      <dgm:prSet phldrT="[Текст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НАЛОГОВАЯ ПОЛИТИКА</a:t>
          </a:r>
          <a:endParaRPr lang="ru-RU" sz="1600" b="1" dirty="0">
            <a:solidFill>
              <a:schemeClr val="tx1"/>
            </a:solidFill>
          </a:endParaRPr>
        </a:p>
      </dgm:t>
    </dgm:pt>
    <dgm:pt modelId="{493BB58D-D86B-4D95-BAD4-3B6195BC4DD4}" type="parTrans" cxnId="{90AD4590-0C24-4394-B23D-2B6596923A14}">
      <dgm:prSet/>
      <dgm:spPr/>
      <dgm:t>
        <a:bodyPr/>
        <a:lstStyle/>
        <a:p>
          <a:endParaRPr lang="ru-RU"/>
        </a:p>
      </dgm:t>
    </dgm:pt>
    <dgm:pt modelId="{A86CBDB5-0052-4BA0-BB8E-6852EEEB18BA}" type="sibTrans" cxnId="{90AD4590-0C24-4394-B23D-2B6596923A14}">
      <dgm:prSet/>
      <dgm:spPr/>
      <dgm:t>
        <a:bodyPr/>
        <a:lstStyle/>
        <a:p>
          <a:endParaRPr lang="ru-RU"/>
        </a:p>
      </dgm:t>
    </dgm:pt>
    <dgm:pt modelId="{25C36A67-5878-4E2D-9766-BC93F115BB55}">
      <dgm:prSet phldrT="[Текст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БЮДЖЕТНАЯ ПОЛИТИКА</a:t>
          </a:r>
          <a:endParaRPr lang="ru-RU" sz="1600" b="1" dirty="0">
            <a:solidFill>
              <a:schemeClr val="tx1"/>
            </a:solidFill>
          </a:endParaRPr>
        </a:p>
      </dgm:t>
    </dgm:pt>
    <dgm:pt modelId="{69549B91-2E36-4C5E-A6F2-C7349CBD01F2}" type="parTrans" cxnId="{6FFCA8DD-9E8C-46A1-AA03-7098DD0BD72B}">
      <dgm:prSet/>
      <dgm:spPr/>
      <dgm:t>
        <a:bodyPr/>
        <a:lstStyle/>
        <a:p>
          <a:endParaRPr lang="ru-RU"/>
        </a:p>
      </dgm:t>
    </dgm:pt>
    <dgm:pt modelId="{5411C19F-1E86-4078-AB5B-797FCF35CECB}" type="sibTrans" cxnId="{6FFCA8DD-9E8C-46A1-AA03-7098DD0BD72B}">
      <dgm:prSet/>
      <dgm:spPr/>
      <dgm:t>
        <a:bodyPr/>
        <a:lstStyle/>
        <a:p>
          <a:endParaRPr lang="ru-RU"/>
        </a:p>
      </dgm:t>
    </dgm:pt>
    <dgm:pt modelId="{54C88220-C15F-438B-B603-950381904415}">
      <dgm:prSet phldrT="[Текст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b="1" dirty="0" smtClean="0">
              <a:solidFill>
                <a:schemeClr val="tx1"/>
              </a:solidFill>
            </a:rPr>
            <a:t>ДОЛГОВАЯ ПОЛИТИКА</a:t>
          </a:r>
          <a:endParaRPr lang="ru-RU" sz="1600" b="1" dirty="0">
            <a:solidFill>
              <a:schemeClr val="tx1"/>
            </a:solidFill>
          </a:endParaRPr>
        </a:p>
      </dgm:t>
    </dgm:pt>
    <dgm:pt modelId="{0599D52C-1EA7-4981-8832-3F12C7BAFCB5}" type="parTrans" cxnId="{040F753F-B6E0-403A-B738-4F90E57EF265}">
      <dgm:prSet/>
      <dgm:spPr/>
      <dgm:t>
        <a:bodyPr/>
        <a:lstStyle/>
        <a:p>
          <a:endParaRPr lang="ru-RU"/>
        </a:p>
      </dgm:t>
    </dgm:pt>
    <dgm:pt modelId="{E4DCAF98-D358-4C3C-835F-A724C1D983E2}" type="sibTrans" cxnId="{040F753F-B6E0-403A-B738-4F90E57EF265}">
      <dgm:prSet/>
      <dgm:spPr/>
      <dgm:t>
        <a:bodyPr/>
        <a:lstStyle/>
        <a:p>
          <a:endParaRPr lang="ru-RU"/>
        </a:p>
      </dgm:t>
    </dgm:pt>
    <dgm:pt modelId="{C1E9E638-6E2D-41DA-A236-1571BAC1B32A}">
      <dgm:prSet phldrT="[Текст]" custT="1"/>
      <dgm:spPr>
        <a:noFill/>
        <a:ln>
          <a:noFill/>
        </a:ln>
      </dgm:spPr>
      <dgm:t>
        <a:bodyPr/>
        <a:lstStyle/>
        <a:p>
          <a:endParaRPr lang="ru-RU" sz="1600" b="1" dirty="0">
            <a:solidFill>
              <a:schemeClr val="tx1"/>
            </a:solidFill>
          </a:endParaRPr>
        </a:p>
      </dgm:t>
    </dgm:pt>
    <dgm:pt modelId="{9DFB09B8-3DB0-4B52-9D59-5D1AED44E677}" type="sibTrans" cxnId="{7A0DCA1F-6B4C-430E-BBB0-35BE461FDA4A}">
      <dgm:prSet/>
      <dgm:spPr/>
      <dgm:t>
        <a:bodyPr/>
        <a:lstStyle/>
        <a:p>
          <a:endParaRPr lang="ru-RU"/>
        </a:p>
      </dgm:t>
    </dgm:pt>
    <dgm:pt modelId="{5CA9234A-731D-4CE3-BC35-13D3F34303DB}" type="parTrans" cxnId="{7A0DCA1F-6B4C-430E-BBB0-35BE461FDA4A}">
      <dgm:prSet/>
      <dgm:spPr/>
      <dgm:t>
        <a:bodyPr/>
        <a:lstStyle/>
        <a:p>
          <a:endParaRPr lang="ru-RU"/>
        </a:p>
      </dgm:t>
    </dgm:pt>
    <dgm:pt modelId="{4B1D852C-BCB6-4ABF-8C2B-D5D243A50CD1}" type="pres">
      <dgm:prSet presAssocID="{1848A745-313A-43B2-BCBB-A2D4AF522013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F17CAE6-1C79-4F85-9A97-3925C9C80EB4}" type="pres">
      <dgm:prSet presAssocID="{1848A745-313A-43B2-BCBB-A2D4AF522013}" presName="triangle1" presStyleLbl="node1" presStyleIdx="0" presStyleCnt="4" custScaleX="2534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B96C54-C9AC-4741-B40E-1334AAF7151A}" type="pres">
      <dgm:prSet presAssocID="{1848A745-313A-43B2-BCBB-A2D4AF522013}" presName="triangle2" presStyleLbl="node1" presStyleIdx="1" presStyleCnt="4" custScaleX="236242" custLinFactNeighborX="-77769" custLinFactNeighborY="6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7BCB755-12FF-4087-9649-9D593D76CB33}" type="pres">
      <dgm:prSet presAssocID="{1848A745-313A-43B2-BCBB-A2D4AF522013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F4FA56-48CD-4DF3-93C5-B7F54A0919DF}" type="pres">
      <dgm:prSet presAssocID="{1848A745-313A-43B2-BCBB-A2D4AF522013}" presName="triangle4" presStyleLbl="node1" presStyleIdx="3" presStyleCnt="4" custScaleX="232560" custLinFactNeighborX="780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DFA3994-17A2-4F95-8379-2A9CDDDEC9F4}" type="presOf" srcId="{1848A745-313A-43B2-BCBB-A2D4AF522013}" destId="{4B1D852C-BCB6-4ABF-8C2B-D5D243A50CD1}" srcOrd="0" destOrd="0" presId="urn:microsoft.com/office/officeart/2005/8/layout/pyramid4"/>
    <dgm:cxn modelId="{D24B5838-448E-4C60-80BD-58493D24A1B3}" type="presOf" srcId="{C1E9E638-6E2D-41DA-A236-1571BAC1B32A}" destId="{A7BCB755-12FF-4087-9649-9D593D76CB33}" srcOrd="0" destOrd="0" presId="urn:microsoft.com/office/officeart/2005/8/layout/pyramid4"/>
    <dgm:cxn modelId="{6FFCA8DD-9E8C-46A1-AA03-7098DD0BD72B}" srcId="{1848A745-313A-43B2-BCBB-A2D4AF522013}" destId="{25C36A67-5878-4E2D-9766-BC93F115BB55}" srcOrd="1" destOrd="0" parTransId="{69549B91-2E36-4C5E-A6F2-C7349CBD01F2}" sibTransId="{5411C19F-1E86-4078-AB5B-797FCF35CECB}"/>
    <dgm:cxn modelId="{D844AE53-F4D1-4672-917E-CE9BAEB4EDF2}" type="presOf" srcId="{25C36A67-5878-4E2D-9766-BC93F115BB55}" destId="{D9B96C54-C9AC-4741-B40E-1334AAF7151A}" srcOrd="0" destOrd="0" presId="urn:microsoft.com/office/officeart/2005/8/layout/pyramid4"/>
    <dgm:cxn modelId="{90AD4590-0C24-4394-B23D-2B6596923A14}" srcId="{1848A745-313A-43B2-BCBB-A2D4AF522013}" destId="{BC371C7B-BEA7-4037-87C5-09CD4774B927}" srcOrd="0" destOrd="0" parTransId="{493BB58D-D86B-4D95-BAD4-3B6195BC4DD4}" sibTransId="{A86CBDB5-0052-4BA0-BB8E-6852EEEB18BA}"/>
    <dgm:cxn modelId="{7A0DCA1F-6B4C-430E-BBB0-35BE461FDA4A}" srcId="{1848A745-313A-43B2-BCBB-A2D4AF522013}" destId="{C1E9E638-6E2D-41DA-A236-1571BAC1B32A}" srcOrd="2" destOrd="0" parTransId="{5CA9234A-731D-4CE3-BC35-13D3F34303DB}" sibTransId="{9DFB09B8-3DB0-4B52-9D59-5D1AED44E677}"/>
    <dgm:cxn modelId="{040F753F-B6E0-403A-B738-4F90E57EF265}" srcId="{1848A745-313A-43B2-BCBB-A2D4AF522013}" destId="{54C88220-C15F-438B-B603-950381904415}" srcOrd="3" destOrd="0" parTransId="{0599D52C-1EA7-4981-8832-3F12C7BAFCB5}" sibTransId="{E4DCAF98-D358-4C3C-835F-A724C1D983E2}"/>
    <dgm:cxn modelId="{4E9640DE-4023-4633-9961-2348AEEC41D2}" type="presOf" srcId="{54C88220-C15F-438B-B603-950381904415}" destId="{0EF4FA56-48CD-4DF3-93C5-B7F54A0919DF}" srcOrd="0" destOrd="0" presId="urn:microsoft.com/office/officeart/2005/8/layout/pyramid4"/>
    <dgm:cxn modelId="{F13A3968-BD2A-4916-8803-9E0E06591928}" type="presOf" srcId="{BC371C7B-BEA7-4037-87C5-09CD4774B927}" destId="{6F17CAE6-1C79-4F85-9A97-3925C9C80EB4}" srcOrd="0" destOrd="0" presId="urn:microsoft.com/office/officeart/2005/8/layout/pyramid4"/>
    <dgm:cxn modelId="{824BFF8E-F199-479A-BF4A-A759B7D259FD}" type="presParOf" srcId="{4B1D852C-BCB6-4ABF-8C2B-D5D243A50CD1}" destId="{6F17CAE6-1C79-4F85-9A97-3925C9C80EB4}" srcOrd="0" destOrd="0" presId="urn:microsoft.com/office/officeart/2005/8/layout/pyramid4"/>
    <dgm:cxn modelId="{F4B683C4-A575-47D7-8376-6B2694897D12}" type="presParOf" srcId="{4B1D852C-BCB6-4ABF-8C2B-D5D243A50CD1}" destId="{D9B96C54-C9AC-4741-B40E-1334AAF7151A}" srcOrd="1" destOrd="0" presId="urn:microsoft.com/office/officeart/2005/8/layout/pyramid4"/>
    <dgm:cxn modelId="{0B41BD4D-6585-4B8B-A26D-02C76FD0A17E}" type="presParOf" srcId="{4B1D852C-BCB6-4ABF-8C2B-D5D243A50CD1}" destId="{A7BCB755-12FF-4087-9649-9D593D76CB33}" srcOrd="2" destOrd="0" presId="urn:microsoft.com/office/officeart/2005/8/layout/pyramid4"/>
    <dgm:cxn modelId="{8CE286C6-7604-4598-97F3-8F9F1D082FE3}" type="presParOf" srcId="{4B1D852C-BCB6-4ABF-8C2B-D5D243A50CD1}" destId="{0EF4FA56-48CD-4DF3-93C5-B7F54A0919DF}" srcOrd="3" destOrd="0" presId="urn:microsoft.com/office/officeart/2005/8/layout/pyramid4"/>
  </dgm:cxnLst>
  <dgm:bg/>
  <dgm:whole>
    <a:ln>
      <a:solidFill>
        <a:schemeClr val="accent1">
          <a:lumMod val="50000"/>
        </a:schemeClr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1FE9D51-8B5D-4A66-A743-9EECF92DACC0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634A7CCD-4A3E-4375-8B02-58FCFD4E7809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Поддержка инвестиционной активности хозяйствующих субъектов</a:t>
          </a:r>
          <a:endParaRPr lang="ru-RU" sz="2000" dirty="0"/>
        </a:p>
      </dgm:t>
    </dgm:pt>
    <dgm:pt modelId="{D58B3B5C-AD67-404E-BF25-CA72B7CF6567}" type="parTrans" cxnId="{BEF4B3FF-8755-4620-9650-271226CB9961}">
      <dgm:prSet/>
      <dgm:spPr/>
      <dgm:t>
        <a:bodyPr/>
        <a:lstStyle/>
        <a:p>
          <a:endParaRPr lang="ru-RU"/>
        </a:p>
      </dgm:t>
    </dgm:pt>
    <dgm:pt modelId="{E50723EE-6094-403D-A9BA-0462E1AC6FD2}" type="sibTrans" cxnId="{BEF4B3FF-8755-4620-9650-271226CB9961}">
      <dgm:prSet/>
      <dgm:spPr/>
      <dgm:t>
        <a:bodyPr/>
        <a:lstStyle/>
        <a:p>
          <a:endParaRPr lang="ru-RU"/>
        </a:p>
      </dgm:t>
    </dgm:pt>
    <dgm:pt modelId="{60EC2062-01E3-48EB-9DAC-D3256DD7CF5F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Оценка эффективности налоговых расходов</a:t>
          </a:r>
        </a:p>
      </dgm:t>
    </dgm:pt>
    <dgm:pt modelId="{D5AB6C50-CF10-47E0-9F0C-8D344EFCD4A7}" type="parTrans" cxnId="{F879977E-9960-40C6-A9A5-71D3969A2930}">
      <dgm:prSet/>
      <dgm:spPr/>
      <dgm:t>
        <a:bodyPr/>
        <a:lstStyle/>
        <a:p>
          <a:endParaRPr lang="ru-RU"/>
        </a:p>
      </dgm:t>
    </dgm:pt>
    <dgm:pt modelId="{F7CBC8F4-197A-466C-8804-D107C1F28AA2}" type="sibTrans" cxnId="{F879977E-9960-40C6-A9A5-71D3969A2930}">
      <dgm:prSet/>
      <dgm:spPr/>
      <dgm:t>
        <a:bodyPr/>
        <a:lstStyle/>
        <a:p>
          <a:endParaRPr lang="ru-RU"/>
        </a:p>
      </dgm:t>
    </dgm:pt>
    <dgm:pt modelId="{F65FB171-2351-4A0A-8575-13A5D12CBC21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Совершенствование администрирования налоговых и неналоговых доходов</a:t>
          </a:r>
        </a:p>
      </dgm:t>
    </dgm:pt>
    <dgm:pt modelId="{200FE0BD-FC0E-44C7-A95C-F3D011106A1A}" type="parTrans" cxnId="{2AB54CF7-1BB5-4E35-B3A5-9EB57C5C38F8}">
      <dgm:prSet/>
      <dgm:spPr/>
      <dgm:t>
        <a:bodyPr/>
        <a:lstStyle/>
        <a:p>
          <a:endParaRPr lang="ru-RU"/>
        </a:p>
      </dgm:t>
    </dgm:pt>
    <dgm:pt modelId="{320C8B3F-F1FA-48A0-82A0-2C97A390EA1C}" type="sibTrans" cxnId="{2AB54CF7-1BB5-4E35-B3A5-9EB57C5C38F8}">
      <dgm:prSet/>
      <dgm:spPr/>
      <dgm:t>
        <a:bodyPr/>
        <a:lstStyle/>
        <a:p>
          <a:endParaRPr lang="ru-RU"/>
        </a:p>
      </dgm:t>
    </dgm:pt>
    <dgm:pt modelId="{D5F9AD14-B274-4731-B4D6-1A7281AF1636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Повышение эффективности управления муниципальными активами</a:t>
          </a:r>
        </a:p>
      </dgm:t>
    </dgm:pt>
    <dgm:pt modelId="{CEFE874C-CB01-45B1-87DA-CABB662BFF9E}" type="parTrans" cxnId="{A6240193-BAF0-4196-B091-34602D4AEE53}">
      <dgm:prSet/>
      <dgm:spPr/>
      <dgm:t>
        <a:bodyPr/>
        <a:lstStyle/>
        <a:p>
          <a:endParaRPr lang="ru-RU"/>
        </a:p>
      </dgm:t>
    </dgm:pt>
    <dgm:pt modelId="{505115CD-5E4C-4C27-B7AE-8A2B053D02D7}" type="sibTrans" cxnId="{A6240193-BAF0-4196-B091-34602D4AEE53}">
      <dgm:prSet/>
      <dgm:spPr/>
      <dgm:t>
        <a:bodyPr/>
        <a:lstStyle/>
        <a:p>
          <a:endParaRPr lang="ru-RU"/>
        </a:p>
      </dgm:t>
    </dgm:pt>
    <dgm:pt modelId="{6BCE3F0D-D018-45A7-9D3D-E024067599BA}" type="pres">
      <dgm:prSet presAssocID="{51FE9D51-8B5D-4A66-A743-9EECF92DACC0}" presName="compositeShape" presStyleCnt="0">
        <dgm:presLayoutVars>
          <dgm:dir/>
          <dgm:resizeHandles/>
        </dgm:presLayoutVars>
      </dgm:prSet>
      <dgm:spPr/>
    </dgm:pt>
    <dgm:pt modelId="{86D3E103-8A36-45DC-B5C3-CF22D009CA52}" type="pres">
      <dgm:prSet presAssocID="{51FE9D51-8B5D-4A66-A743-9EECF92DACC0}" presName="pyramid" presStyleLbl="node1" presStyleIdx="0" presStyleCn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</dgm:pt>
    <dgm:pt modelId="{9E398727-EE73-4DB4-A582-3AFBF7DF8B64}" type="pres">
      <dgm:prSet presAssocID="{51FE9D51-8B5D-4A66-A743-9EECF92DACC0}" presName="theList" presStyleCnt="0"/>
      <dgm:spPr/>
    </dgm:pt>
    <dgm:pt modelId="{3CF70D70-AE55-4C94-8AFA-BB59D843C24B}" type="pres">
      <dgm:prSet presAssocID="{634A7CCD-4A3E-4375-8B02-58FCFD4E7809}" presName="aNode" presStyleLbl="fgAcc1" presStyleIdx="0" presStyleCnt="4" custScaleX="157603" custLinFactNeighborX="29517" custLinFactNeighborY="-471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822CC1-2B13-45F4-98AD-F6DA9208CA8C}" type="pres">
      <dgm:prSet presAssocID="{634A7CCD-4A3E-4375-8B02-58FCFD4E7809}" presName="aSpace" presStyleCnt="0"/>
      <dgm:spPr/>
    </dgm:pt>
    <dgm:pt modelId="{26D55FEB-4075-445C-B970-88647CC17B89}" type="pres">
      <dgm:prSet presAssocID="{60EC2062-01E3-48EB-9DAC-D3256DD7CF5F}" presName="aNode" presStyleLbl="fgAcc1" presStyleIdx="1" presStyleCnt="4" custScaleX="158140" custLinFactNeighborX="28980" custLinFactNeighborY="235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C26C76-7FC1-4A4A-B832-E4F9E11E3257}" type="pres">
      <dgm:prSet presAssocID="{60EC2062-01E3-48EB-9DAC-D3256DD7CF5F}" presName="aSpace" presStyleCnt="0"/>
      <dgm:spPr/>
    </dgm:pt>
    <dgm:pt modelId="{4E953DC2-6933-4277-B628-047DB8510980}" type="pres">
      <dgm:prSet presAssocID="{F65FB171-2351-4A0A-8575-13A5D12CBC21}" presName="aNode" presStyleLbl="fgAcc1" presStyleIdx="2" presStyleCnt="4" custScaleX="158139" custLinFactNeighborX="29517" custLinFactNeighborY="157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B9505B-9C59-41AC-9E29-B82F51D61071}" type="pres">
      <dgm:prSet presAssocID="{F65FB171-2351-4A0A-8575-13A5D12CBC21}" presName="aSpace" presStyleCnt="0"/>
      <dgm:spPr/>
    </dgm:pt>
    <dgm:pt modelId="{6C7978A6-8AEA-4A05-ABB1-78B7426E7812}" type="pres">
      <dgm:prSet presAssocID="{D5F9AD14-B274-4731-B4D6-1A7281AF1636}" presName="aNode" presStyleLbl="fgAcc1" presStyleIdx="3" presStyleCnt="4" custScaleX="159570" custLinFactNeighborX="29786" custLinFactNeighborY="314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619701-BB4F-43EA-B6FD-BEE613CDC2CC}" type="pres">
      <dgm:prSet presAssocID="{D5F9AD14-B274-4731-B4D6-1A7281AF1636}" presName="aSpace" presStyleCnt="0"/>
      <dgm:spPr/>
    </dgm:pt>
  </dgm:ptLst>
  <dgm:cxnLst>
    <dgm:cxn modelId="{BEF4B3FF-8755-4620-9650-271226CB9961}" srcId="{51FE9D51-8B5D-4A66-A743-9EECF92DACC0}" destId="{634A7CCD-4A3E-4375-8B02-58FCFD4E7809}" srcOrd="0" destOrd="0" parTransId="{D58B3B5C-AD67-404E-BF25-CA72B7CF6567}" sibTransId="{E50723EE-6094-403D-A9BA-0462E1AC6FD2}"/>
    <dgm:cxn modelId="{A6240193-BAF0-4196-B091-34602D4AEE53}" srcId="{51FE9D51-8B5D-4A66-A743-9EECF92DACC0}" destId="{D5F9AD14-B274-4731-B4D6-1A7281AF1636}" srcOrd="3" destOrd="0" parTransId="{CEFE874C-CB01-45B1-87DA-CABB662BFF9E}" sibTransId="{505115CD-5E4C-4C27-B7AE-8A2B053D02D7}"/>
    <dgm:cxn modelId="{2AB54CF7-1BB5-4E35-B3A5-9EB57C5C38F8}" srcId="{51FE9D51-8B5D-4A66-A743-9EECF92DACC0}" destId="{F65FB171-2351-4A0A-8575-13A5D12CBC21}" srcOrd="2" destOrd="0" parTransId="{200FE0BD-FC0E-44C7-A95C-F3D011106A1A}" sibTransId="{320C8B3F-F1FA-48A0-82A0-2C97A390EA1C}"/>
    <dgm:cxn modelId="{D9DD5266-24DA-4E3A-889B-9E82AE98B89E}" type="presOf" srcId="{D5F9AD14-B274-4731-B4D6-1A7281AF1636}" destId="{6C7978A6-8AEA-4A05-ABB1-78B7426E7812}" srcOrd="0" destOrd="0" presId="urn:microsoft.com/office/officeart/2005/8/layout/pyramid2"/>
    <dgm:cxn modelId="{CB8BF7F2-CD89-40E7-8896-D29A0A6AEF0F}" type="presOf" srcId="{60EC2062-01E3-48EB-9DAC-D3256DD7CF5F}" destId="{26D55FEB-4075-445C-B970-88647CC17B89}" srcOrd="0" destOrd="0" presId="urn:microsoft.com/office/officeart/2005/8/layout/pyramid2"/>
    <dgm:cxn modelId="{FAD3DD0D-FBF5-4FED-AF14-99F391A7BCEC}" type="presOf" srcId="{51FE9D51-8B5D-4A66-A743-9EECF92DACC0}" destId="{6BCE3F0D-D018-45A7-9D3D-E024067599BA}" srcOrd="0" destOrd="0" presId="urn:microsoft.com/office/officeart/2005/8/layout/pyramid2"/>
    <dgm:cxn modelId="{F879977E-9960-40C6-A9A5-71D3969A2930}" srcId="{51FE9D51-8B5D-4A66-A743-9EECF92DACC0}" destId="{60EC2062-01E3-48EB-9DAC-D3256DD7CF5F}" srcOrd="1" destOrd="0" parTransId="{D5AB6C50-CF10-47E0-9F0C-8D344EFCD4A7}" sibTransId="{F7CBC8F4-197A-466C-8804-D107C1F28AA2}"/>
    <dgm:cxn modelId="{BECF1D06-99EF-43A1-823E-917E9C1D2C1A}" type="presOf" srcId="{F65FB171-2351-4A0A-8575-13A5D12CBC21}" destId="{4E953DC2-6933-4277-B628-047DB8510980}" srcOrd="0" destOrd="0" presId="urn:microsoft.com/office/officeart/2005/8/layout/pyramid2"/>
    <dgm:cxn modelId="{3948A0E6-BC25-47E4-9EB1-169B85DF99F2}" type="presOf" srcId="{634A7CCD-4A3E-4375-8B02-58FCFD4E7809}" destId="{3CF70D70-AE55-4C94-8AFA-BB59D843C24B}" srcOrd="0" destOrd="0" presId="urn:microsoft.com/office/officeart/2005/8/layout/pyramid2"/>
    <dgm:cxn modelId="{782A6156-2A2C-4ED6-933D-84EAB8E01A1B}" type="presParOf" srcId="{6BCE3F0D-D018-45A7-9D3D-E024067599BA}" destId="{86D3E103-8A36-45DC-B5C3-CF22D009CA52}" srcOrd="0" destOrd="0" presId="urn:microsoft.com/office/officeart/2005/8/layout/pyramid2"/>
    <dgm:cxn modelId="{D9622465-646A-4843-BF95-8651B387E27A}" type="presParOf" srcId="{6BCE3F0D-D018-45A7-9D3D-E024067599BA}" destId="{9E398727-EE73-4DB4-A582-3AFBF7DF8B64}" srcOrd="1" destOrd="0" presId="urn:microsoft.com/office/officeart/2005/8/layout/pyramid2"/>
    <dgm:cxn modelId="{27A4AADB-BE39-4CF7-B964-74E2248C8393}" type="presParOf" srcId="{9E398727-EE73-4DB4-A582-3AFBF7DF8B64}" destId="{3CF70D70-AE55-4C94-8AFA-BB59D843C24B}" srcOrd="0" destOrd="0" presId="urn:microsoft.com/office/officeart/2005/8/layout/pyramid2"/>
    <dgm:cxn modelId="{CEDB692B-4928-4766-A115-4BCCBB0C7981}" type="presParOf" srcId="{9E398727-EE73-4DB4-A582-3AFBF7DF8B64}" destId="{8D822CC1-2B13-45F4-98AD-F6DA9208CA8C}" srcOrd="1" destOrd="0" presId="urn:microsoft.com/office/officeart/2005/8/layout/pyramid2"/>
    <dgm:cxn modelId="{3EEC50E7-6FEC-41BC-938C-D74837F7BDD0}" type="presParOf" srcId="{9E398727-EE73-4DB4-A582-3AFBF7DF8B64}" destId="{26D55FEB-4075-445C-B970-88647CC17B89}" srcOrd="2" destOrd="0" presId="urn:microsoft.com/office/officeart/2005/8/layout/pyramid2"/>
    <dgm:cxn modelId="{C2735149-52D6-44FE-81F1-0A3BAAD24846}" type="presParOf" srcId="{9E398727-EE73-4DB4-A582-3AFBF7DF8B64}" destId="{55C26C76-7FC1-4A4A-B832-E4F9E11E3257}" srcOrd="3" destOrd="0" presId="urn:microsoft.com/office/officeart/2005/8/layout/pyramid2"/>
    <dgm:cxn modelId="{92530CAD-D22E-4D3C-875F-5CBD9313A738}" type="presParOf" srcId="{9E398727-EE73-4DB4-A582-3AFBF7DF8B64}" destId="{4E953DC2-6933-4277-B628-047DB8510980}" srcOrd="4" destOrd="0" presId="urn:microsoft.com/office/officeart/2005/8/layout/pyramid2"/>
    <dgm:cxn modelId="{EC6324D5-85A0-4699-9FE2-BDCC4D02D5AD}" type="presParOf" srcId="{9E398727-EE73-4DB4-A582-3AFBF7DF8B64}" destId="{73B9505B-9C59-41AC-9E29-B82F51D61071}" srcOrd="5" destOrd="0" presId="urn:microsoft.com/office/officeart/2005/8/layout/pyramid2"/>
    <dgm:cxn modelId="{CFE17E1C-2DC6-4E2C-82AF-A772FBE963FA}" type="presParOf" srcId="{9E398727-EE73-4DB4-A582-3AFBF7DF8B64}" destId="{6C7978A6-8AEA-4A05-ABB1-78B7426E7812}" srcOrd="6" destOrd="0" presId="urn:microsoft.com/office/officeart/2005/8/layout/pyramid2"/>
    <dgm:cxn modelId="{B5E9A746-314D-415E-8025-764EB7F47438}" type="presParOf" srcId="{9E398727-EE73-4DB4-A582-3AFBF7DF8B64}" destId="{74619701-BB4F-43EA-B6FD-BEE613CDC2CC}" srcOrd="7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1FE9D51-8B5D-4A66-A743-9EECF92DACC0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634A7CCD-4A3E-4375-8B02-58FCFD4E7809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>
              <a:solidFill>
                <a:schemeClr val="tx1"/>
              </a:solidFill>
            </a:rPr>
            <a:t>Концентрация ресурсов на достижении результатов мероприятий муниципальных программ</a:t>
          </a:r>
          <a:endParaRPr lang="ru-RU" sz="2000" dirty="0"/>
        </a:p>
      </dgm:t>
    </dgm:pt>
    <dgm:pt modelId="{D58B3B5C-AD67-404E-BF25-CA72B7CF6567}" type="parTrans" cxnId="{BEF4B3FF-8755-4620-9650-271226CB9961}">
      <dgm:prSet/>
      <dgm:spPr/>
      <dgm:t>
        <a:bodyPr/>
        <a:lstStyle/>
        <a:p>
          <a:endParaRPr lang="ru-RU"/>
        </a:p>
      </dgm:t>
    </dgm:pt>
    <dgm:pt modelId="{E50723EE-6094-403D-A9BA-0462E1AC6FD2}" type="sibTrans" cxnId="{BEF4B3FF-8755-4620-9650-271226CB9961}">
      <dgm:prSet/>
      <dgm:spPr/>
      <dgm:t>
        <a:bodyPr/>
        <a:lstStyle/>
        <a:p>
          <a:endParaRPr lang="ru-RU"/>
        </a:p>
      </dgm:t>
    </dgm:pt>
    <dgm:pt modelId="{60EC2062-01E3-48EB-9DAC-D3256DD7CF5F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Повышение эффективности расходования бюджетных средств</a:t>
          </a:r>
        </a:p>
      </dgm:t>
    </dgm:pt>
    <dgm:pt modelId="{D5AB6C50-CF10-47E0-9F0C-8D344EFCD4A7}" type="parTrans" cxnId="{F879977E-9960-40C6-A9A5-71D3969A2930}">
      <dgm:prSet/>
      <dgm:spPr/>
      <dgm:t>
        <a:bodyPr/>
        <a:lstStyle/>
        <a:p>
          <a:endParaRPr lang="ru-RU"/>
        </a:p>
      </dgm:t>
    </dgm:pt>
    <dgm:pt modelId="{F7CBC8F4-197A-466C-8804-D107C1F28AA2}" type="sibTrans" cxnId="{F879977E-9960-40C6-A9A5-71D3969A2930}">
      <dgm:prSet/>
      <dgm:spPr/>
      <dgm:t>
        <a:bodyPr/>
        <a:lstStyle/>
        <a:p>
          <a:endParaRPr lang="ru-RU"/>
        </a:p>
      </dgm:t>
    </dgm:pt>
    <dgm:pt modelId="{F65FB171-2351-4A0A-8575-13A5D12CBC21}">
      <dgm:prSet phldrT="[Текст]" custT="1"/>
      <dgm:spPr>
        <a:solidFill>
          <a:schemeClr val="accent5">
            <a:lumMod val="9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2000" dirty="0" smtClean="0"/>
            <a:t>Повышение качества финансового менеджмента</a:t>
          </a:r>
        </a:p>
      </dgm:t>
    </dgm:pt>
    <dgm:pt modelId="{200FE0BD-FC0E-44C7-A95C-F3D011106A1A}" type="parTrans" cxnId="{2AB54CF7-1BB5-4E35-B3A5-9EB57C5C38F8}">
      <dgm:prSet/>
      <dgm:spPr/>
      <dgm:t>
        <a:bodyPr/>
        <a:lstStyle/>
        <a:p>
          <a:endParaRPr lang="ru-RU"/>
        </a:p>
      </dgm:t>
    </dgm:pt>
    <dgm:pt modelId="{320C8B3F-F1FA-48A0-82A0-2C97A390EA1C}" type="sibTrans" cxnId="{2AB54CF7-1BB5-4E35-B3A5-9EB57C5C38F8}">
      <dgm:prSet/>
      <dgm:spPr/>
      <dgm:t>
        <a:bodyPr/>
        <a:lstStyle/>
        <a:p>
          <a:endParaRPr lang="ru-RU"/>
        </a:p>
      </dgm:t>
    </dgm:pt>
    <dgm:pt modelId="{6BCE3F0D-D018-45A7-9D3D-E024067599BA}" type="pres">
      <dgm:prSet presAssocID="{51FE9D51-8B5D-4A66-A743-9EECF92DACC0}" presName="compositeShape" presStyleCnt="0">
        <dgm:presLayoutVars>
          <dgm:dir/>
          <dgm:resizeHandles/>
        </dgm:presLayoutVars>
      </dgm:prSet>
      <dgm:spPr/>
    </dgm:pt>
    <dgm:pt modelId="{86D3E103-8A36-45DC-B5C3-CF22D009CA52}" type="pres">
      <dgm:prSet presAssocID="{51FE9D51-8B5D-4A66-A743-9EECF92DACC0}" presName="pyramid" presStyleLbl="node1" presStyleIdx="0" presStyleCn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</dgm:pt>
    <dgm:pt modelId="{9E398727-EE73-4DB4-A582-3AFBF7DF8B64}" type="pres">
      <dgm:prSet presAssocID="{51FE9D51-8B5D-4A66-A743-9EECF92DACC0}" presName="theList" presStyleCnt="0"/>
      <dgm:spPr/>
    </dgm:pt>
    <dgm:pt modelId="{3CF70D70-AE55-4C94-8AFA-BB59D843C24B}" type="pres">
      <dgm:prSet presAssocID="{634A7CCD-4A3E-4375-8B02-58FCFD4E7809}" presName="aNode" presStyleLbl="fgAcc1" presStyleIdx="0" presStyleCnt="3" custScaleX="157603" custLinFactNeighborX="29517" custLinFactNeighborY="-471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822CC1-2B13-45F4-98AD-F6DA9208CA8C}" type="pres">
      <dgm:prSet presAssocID="{634A7CCD-4A3E-4375-8B02-58FCFD4E7809}" presName="aSpace" presStyleCnt="0"/>
      <dgm:spPr/>
    </dgm:pt>
    <dgm:pt modelId="{26D55FEB-4075-445C-B970-88647CC17B89}" type="pres">
      <dgm:prSet presAssocID="{60EC2062-01E3-48EB-9DAC-D3256DD7CF5F}" presName="aNode" presStyleLbl="fgAcc1" presStyleIdx="1" presStyleCnt="3" custScaleX="158140" custLinFactNeighborX="28980" custLinFactNeighborY="235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C26C76-7FC1-4A4A-B832-E4F9E11E3257}" type="pres">
      <dgm:prSet presAssocID="{60EC2062-01E3-48EB-9DAC-D3256DD7CF5F}" presName="aSpace" presStyleCnt="0"/>
      <dgm:spPr/>
    </dgm:pt>
    <dgm:pt modelId="{4E953DC2-6933-4277-B628-047DB8510980}" type="pres">
      <dgm:prSet presAssocID="{F65FB171-2351-4A0A-8575-13A5D12CBC21}" presName="aNode" presStyleLbl="fgAcc1" presStyleIdx="2" presStyleCnt="3" custScaleX="158139" custLinFactNeighborX="29517" custLinFactNeighborY="864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B9505B-9C59-41AC-9E29-B82F51D61071}" type="pres">
      <dgm:prSet presAssocID="{F65FB171-2351-4A0A-8575-13A5D12CBC21}" presName="aSpace" presStyleCnt="0"/>
      <dgm:spPr/>
    </dgm:pt>
  </dgm:ptLst>
  <dgm:cxnLst>
    <dgm:cxn modelId="{731F391B-FE57-4BAA-BED3-EF933393BB62}" type="presOf" srcId="{60EC2062-01E3-48EB-9DAC-D3256DD7CF5F}" destId="{26D55FEB-4075-445C-B970-88647CC17B89}" srcOrd="0" destOrd="0" presId="urn:microsoft.com/office/officeart/2005/8/layout/pyramid2"/>
    <dgm:cxn modelId="{BEF4B3FF-8755-4620-9650-271226CB9961}" srcId="{51FE9D51-8B5D-4A66-A743-9EECF92DACC0}" destId="{634A7CCD-4A3E-4375-8B02-58FCFD4E7809}" srcOrd="0" destOrd="0" parTransId="{D58B3B5C-AD67-404E-BF25-CA72B7CF6567}" sibTransId="{E50723EE-6094-403D-A9BA-0462E1AC6FD2}"/>
    <dgm:cxn modelId="{312225DD-1C9C-446D-8AAC-1FA64C9DBF4B}" type="presOf" srcId="{634A7CCD-4A3E-4375-8B02-58FCFD4E7809}" destId="{3CF70D70-AE55-4C94-8AFA-BB59D843C24B}" srcOrd="0" destOrd="0" presId="urn:microsoft.com/office/officeart/2005/8/layout/pyramid2"/>
    <dgm:cxn modelId="{2AB54CF7-1BB5-4E35-B3A5-9EB57C5C38F8}" srcId="{51FE9D51-8B5D-4A66-A743-9EECF92DACC0}" destId="{F65FB171-2351-4A0A-8575-13A5D12CBC21}" srcOrd="2" destOrd="0" parTransId="{200FE0BD-FC0E-44C7-A95C-F3D011106A1A}" sibTransId="{320C8B3F-F1FA-48A0-82A0-2C97A390EA1C}"/>
    <dgm:cxn modelId="{F879977E-9960-40C6-A9A5-71D3969A2930}" srcId="{51FE9D51-8B5D-4A66-A743-9EECF92DACC0}" destId="{60EC2062-01E3-48EB-9DAC-D3256DD7CF5F}" srcOrd="1" destOrd="0" parTransId="{D5AB6C50-CF10-47E0-9F0C-8D344EFCD4A7}" sibTransId="{F7CBC8F4-197A-466C-8804-D107C1F28AA2}"/>
    <dgm:cxn modelId="{4C2BC47A-EFB7-4C24-BA95-8F08168C6C83}" type="presOf" srcId="{F65FB171-2351-4A0A-8575-13A5D12CBC21}" destId="{4E953DC2-6933-4277-B628-047DB8510980}" srcOrd="0" destOrd="0" presId="urn:microsoft.com/office/officeart/2005/8/layout/pyramid2"/>
    <dgm:cxn modelId="{428977AA-D508-4372-A7D6-66326DCDE404}" type="presOf" srcId="{51FE9D51-8B5D-4A66-A743-9EECF92DACC0}" destId="{6BCE3F0D-D018-45A7-9D3D-E024067599BA}" srcOrd="0" destOrd="0" presId="urn:microsoft.com/office/officeart/2005/8/layout/pyramid2"/>
    <dgm:cxn modelId="{7DA62911-8DB3-45FB-AB95-07FBC7366B4F}" type="presParOf" srcId="{6BCE3F0D-D018-45A7-9D3D-E024067599BA}" destId="{86D3E103-8A36-45DC-B5C3-CF22D009CA52}" srcOrd="0" destOrd="0" presId="urn:microsoft.com/office/officeart/2005/8/layout/pyramid2"/>
    <dgm:cxn modelId="{47852F89-7B90-4BE5-9E5B-D6185F32E1AA}" type="presParOf" srcId="{6BCE3F0D-D018-45A7-9D3D-E024067599BA}" destId="{9E398727-EE73-4DB4-A582-3AFBF7DF8B64}" srcOrd="1" destOrd="0" presId="urn:microsoft.com/office/officeart/2005/8/layout/pyramid2"/>
    <dgm:cxn modelId="{4B1DC9F1-4125-4D3D-89D0-AFCFAD115A4D}" type="presParOf" srcId="{9E398727-EE73-4DB4-A582-3AFBF7DF8B64}" destId="{3CF70D70-AE55-4C94-8AFA-BB59D843C24B}" srcOrd="0" destOrd="0" presId="urn:microsoft.com/office/officeart/2005/8/layout/pyramid2"/>
    <dgm:cxn modelId="{79777D5E-EB62-4624-B968-1EBF1DA5AED9}" type="presParOf" srcId="{9E398727-EE73-4DB4-A582-3AFBF7DF8B64}" destId="{8D822CC1-2B13-45F4-98AD-F6DA9208CA8C}" srcOrd="1" destOrd="0" presId="urn:microsoft.com/office/officeart/2005/8/layout/pyramid2"/>
    <dgm:cxn modelId="{F710A0AA-5109-47F0-88BF-A1EA3480D0EE}" type="presParOf" srcId="{9E398727-EE73-4DB4-A582-3AFBF7DF8B64}" destId="{26D55FEB-4075-445C-B970-88647CC17B89}" srcOrd="2" destOrd="0" presId="urn:microsoft.com/office/officeart/2005/8/layout/pyramid2"/>
    <dgm:cxn modelId="{B960D370-3CB4-43EF-AAFA-2D5B1717124D}" type="presParOf" srcId="{9E398727-EE73-4DB4-A582-3AFBF7DF8B64}" destId="{55C26C76-7FC1-4A4A-B832-E4F9E11E3257}" srcOrd="3" destOrd="0" presId="urn:microsoft.com/office/officeart/2005/8/layout/pyramid2"/>
    <dgm:cxn modelId="{84BB2AE4-AAC1-4578-8A29-DA17E8688079}" type="presParOf" srcId="{9E398727-EE73-4DB4-A582-3AFBF7DF8B64}" destId="{4E953DC2-6933-4277-B628-047DB8510980}" srcOrd="4" destOrd="0" presId="urn:microsoft.com/office/officeart/2005/8/layout/pyramid2"/>
    <dgm:cxn modelId="{DB749D95-C402-4945-84AB-4E3C91B80F0E}" type="presParOf" srcId="{9E398727-EE73-4DB4-A582-3AFBF7DF8B64}" destId="{73B9505B-9C59-41AC-9E29-B82F51D61071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DABDA3C-CFA9-436E-8791-36641FDD9060}" type="doc">
      <dgm:prSet loTypeId="urn:microsoft.com/office/officeart/2005/8/layout/hProcess6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A321B52-C407-4FA9-B55D-438C3C7EA774}">
      <dgm:prSet phldrT="[Текст]" custT="1"/>
      <dgm:spPr>
        <a:solidFill>
          <a:schemeClr val="accent2">
            <a:lumMod val="75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400" b="1" dirty="0" smtClean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rPr>
            <a:t>3,8%</a:t>
          </a:r>
          <a:endParaRPr lang="ru-RU" sz="1400" b="1" dirty="0">
            <a:solidFill>
              <a:schemeClr val="accent5">
                <a:lumMod val="1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91A63E5A-0ECC-45AB-8FAC-25DD5E75B04E}" type="parTrans" cxnId="{AB49D3C2-9EB2-4CB7-B616-1A60C51D2BCD}">
      <dgm:prSet/>
      <dgm:spPr/>
      <dgm:t>
        <a:bodyPr/>
        <a:lstStyle/>
        <a:p>
          <a:endParaRPr lang="ru-RU"/>
        </a:p>
      </dgm:t>
    </dgm:pt>
    <dgm:pt modelId="{E420E2B8-60ED-4F40-8328-12851C79CC2D}" type="sibTrans" cxnId="{AB49D3C2-9EB2-4CB7-B616-1A60C51D2BCD}">
      <dgm:prSet/>
      <dgm:spPr/>
      <dgm:t>
        <a:bodyPr/>
        <a:lstStyle/>
        <a:p>
          <a:endParaRPr lang="ru-RU"/>
        </a:p>
      </dgm:t>
    </dgm:pt>
    <dgm:pt modelId="{C32F4968-34FC-4802-8686-FA7D40F33954}">
      <dgm:prSet phldrT="[Текст]"/>
      <dgm:spPr>
        <a:solidFill>
          <a:schemeClr val="accent2">
            <a:lumMod val="75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b="1" dirty="0" smtClean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rPr>
            <a:t>4,0%</a:t>
          </a:r>
          <a:endParaRPr lang="ru-RU" b="1" dirty="0">
            <a:solidFill>
              <a:schemeClr val="accent5">
                <a:lumMod val="1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95CC162B-3690-4740-BB13-AEBB83B4B01B}" type="parTrans" cxnId="{D160B3A1-2C7E-4926-851B-B6130F1A88C9}">
      <dgm:prSet/>
      <dgm:spPr/>
      <dgm:t>
        <a:bodyPr/>
        <a:lstStyle/>
        <a:p>
          <a:endParaRPr lang="ru-RU"/>
        </a:p>
      </dgm:t>
    </dgm:pt>
    <dgm:pt modelId="{50672149-85AF-4BC1-8DA2-83A8B5951126}" type="sibTrans" cxnId="{D160B3A1-2C7E-4926-851B-B6130F1A88C9}">
      <dgm:prSet/>
      <dgm:spPr/>
      <dgm:t>
        <a:bodyPr/>
        <a:lstStyle/>
        <a:p>
          <a:endParaRPr lang="ru-RU"/>
        </a:p>
      </dgm:t>
    </dgm:pt>
    <dgm:pt modelId="{BC3B4D35-3D9D-4D97-8062-732BF5C6857D}">
      <dgm:prSet phldrT="[Текст]"/>
      <dgm:spPr>
        <a:solidFill>
          <a:schemeClr val="accent2">
            <a:lumMod val="75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b="1" dirty="0" smtClean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rPr>
            <a:t>4,0%</a:t>
          </a:r>
          <a:endParaRPr lang="ru-RU" b="1" dirty="0">
            <a:solidFill>
              <a:schemeClr val="accent5">
                <a:lumMod val="1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4F98118E-45B1-4F5D-8B6B-9C0C8DFC468A}" type="parTrans" cxnId="{92055C90-EB1C-46F4-8AFB-9D446831289B}">
      <dgm:prSet/>
      <dgm:spPr/>
      <dgm:t>
        <a:bodyPr/>
        <a:lstStyle/>
        <a:p>
          <a:endParaRPr lang="ru-RU"/>
        </a:p>
      </dgm:t>
    </dgm:pt>
    <dgm:pt modelId="{AF03F857-BF17-4924-BAB0-99B4D0556F41}" type="sibTrans" cxnId="{92055C90-EB1C-46F4-8AFB-9D446831289B}">
      <dgm:prSet/>
      <dgm:spPr/>
      <dgm:t>
        <a:bodyPr/>
        <a:lstStyle/>
        <a:p>
          <a:endParaRPr lang="ru-RU"/>
        </a:p>
      </dgm:t>
    </dgm:pt>
    <dgm:pt modelId="{1807C9AD-FDA5-4D43-B66C-B435828B3D5F}" type="pres">
      <dgm:prSet presAssocID="{7DABDA3C-CFA9-436E-8791-36641FDD9060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2096C0F-CC25-4F63-9CA9-983F8706988E}" type="pres">
      <dgm:prSet presAssocID="{EA321B52-C407-4FA9-B55D-438C3C7EA774}" presName="compNode" presStyleCnt="0"/>
      <dgm:spPr/>
    </dgm:pt>
    <dgm:pt modelId="{9B73576B-33C5-4CD7-A568-FC47A663D1FE}" type="pres">
      <dgm:prSet presAssocID="{EA321B52-C407-4FA9-B55D-438C3C7EA774}" presName="noGeometry" presStyleCnt="0"/>
      <dgm:spPr/>
    </dgm:pt>
    <dgm:pt modelId="{F3134B74-F698-4A04-ADE3-BC045AE4A5D9}" type="pres">
      <dgm:prSet presAssocID="{EA321B52-C407-4FA9-B55D-438C3C7EA774}" presName="childTextVisible" presStyleLbl="bgAccFollowNode1" presStyleIdx="0" presStyleCnt="3" custScaleX="123814" custLinFactNeighborX="21392" custLinFactNeighborY="1578">
        <dgm:presLayoutVars>
          <dgm:bulletEnabled val="1"/>
        </dgm:presLayoutVars>
      </dgm:prSet>
      <dgm:spPr>
        <a:solidFill>
          <a:schemeClr val="accent2">
            <a:lumMod val="60000"/>
            <a:lumOff val="40000"/>
            <a:alpha val="90000"/>
          </a:schemeClr>
        </a:solidFill>
        <a:ln>
          <a:solidFill>
            <a:schemeClr val="accent6">
              <a:lumMod val="60000"/>
              <a:lumOff val="40000"/>
              <a:alpha val="9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/>
        </a:p>
      </dgm:t>
    </dgm:pt>
    <dgm:pt modelId="{533C4105-A6CB-4AE8-985C-7B86726356B9}" type="pres">
      <dgm:prSet presAssocID="{EA321B52-C407-4FA9-B55D-438C3C7EA774}" presName="childTextHidden" presStyleLbl="bgAccFollowNode1" presStyleIdx="0" presStyleCnt="3"/>
      <dgm:spPr/>
      <dgm:t>
        <a:bodyPr/>
        <a:lstStyle/>
        <a:p>
          <a:endParaRPr lang="ru-RU"/>
        </a:p>
      </dgm:t>
    </dgm:pt>
    <dgm:pt modelId="{D5482FDA-6705-436C-8A42-03B558BDB6EE}" type="pres">
      <dgm:prSet presAssocID="{EA321B52-C407-4FA9-B55D-438C3C7EA774}" presName="parentText" presStyleLbl="node1" presStyleIdx="0" presStyleCnt="3" custLinFactNeighborX="-4339" custLinFactNeighborY="-277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A2BB35-507B-4D10-A7B3-17C2AC5A752E}" type="pres">
      <dgm:prSet presAssocID="{EA321B52-C407-4FA9-B55D-438C3C7EA774}" presName="aSpace" presStyleCnt="0"/>
      <dgm:spPr/>
    </dgm:pt>
    <dgm:pt modelId="{E98FE914-F7A6-4E0B-932D-2507E5BBCFFC}" type="pres">
      <dgm:prSet presAssocID="{C32F4968-34FC-4802-8686-FA7D40F33954}" presName="compNode" presStyleCnt="0"/>
      <dgm:spPr/>
    </dgm:pt>
    <dgm:pt modelId="{9FEFDCB5-3FC4-4912-AE46-5489024D6F18}" type="pres">
      <dgm:prSet presAssocID="{C32F4968-34FC-4802-8686-FA7D40F33954}" presName="noGeometry" presStyleCnt="0"/>
      <dgm:spPr/>
    </dgm:pt>
    <dgm:pt modelId="{EFB57B24-4A7A-4142-92FC-81C4BCB3D3D6}" type="pres">
      <dgm:prSet presAssocID="{C32F4968-34FC-4802-8686-FA7D40F33954}" presName="childTextVisible" presStyleLbl="bgAccFollowNode1" presStyleIdx="1" presStyleCnt="3" custScaleX="120985" custLinFactNeighborX="21390" custLinFactNeighborY="284">
        <dgm:presLayoutVars>
          <dgm:bulletEnabled val="1"/>
        </dgm:presLayoutVars>
      </dgm:prSet>
      <dgm:spPr>
        <a:solidFill>
          <a:schemeClr val="accent2">
            <a:lumMod val="60000"/>
            <a:lumOff val="4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/>
        </a:p>
      </dgm:t>
    </dgm:pt>
    <dgm:pt modelId="{447203EC-A1C3-4AE1-B1BD-F13E701FB360}" type="pres">
      <dgm:prSet presAssocID="{C32F4968-34FC-4802-8686-FA7D40F33954}" presName="childTextHidden" presStyleLbl="bgAccFollowNode1" presStyleIdx="1" presStyleCnt="3"/>
      <dgm:spPr/>
      <dgm:t>
        <a:bodyPr/>
        <a:lstStyle/>
        <a:p>
          <a:endParaRPr lang="ru-RU"/>
        </a:p>
      </dgm:t>
    </dgm:pt>
    <dgm:pt modelId="{84BE9BF1-F7DB-4713-AA79-8E95D84C4641}" type="pres">
      <dgm:prSet presAssocID="{C32F4968-34FC-4802-8686-FA7D40F33954}" presName="parentText" presStyleLbl="node1" presStyleIdx="1" presStyleCnt="3" custLinFactNeighborX="-190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24962E-8EBB-464A-8DA6-FC9576EA6B9D}" type="pres">
      <dgm:prSet presAssocID="{C32F4968-34FC-4802-8686-FA7D40F33954}" presName="aSpace" presStyleCnt="0"/>
      <dgm:spPr/>
    </dgm:pt>
    <dgm:pt modelId="{AC631ECF-DE8F-4404-B93C-5AF427BBE1F9}" type="pres">
      <dgm:prSet presAssocID="{BC3B4D35-3D9D-4D97-8062-732BF5C6857D}" presName="compNode" presStyleCnt="0"/>
      <dgm:spPr/>
    </dgm:pt>
    <dgm:pt modelId="{E504BE6A-9B44-40CD-88A3-F69D2D655E58}" type="pres">
      <dgm:prSet presAssocID="{BC3B4D35-3D9D-4D97-8062-732BF5C6857D}" presName="noGeometry" presStyleCnt="0"/>
      <dgm:spPr/>
    </dgm:pt>
    <dgm:pt modelId="{AC1681D6-4DD3-412F-BE16-60E7DBBAF1A7}" type="pres">
      <dgm:prSet presAssocID="{BC3B4D35-3D9D-4D97-8062-732BF5C6857D}" presName="childTextVisible" presStyleLbl="bgAccFollowNode1" presStyleIdx="2" presStyleCnt="3" custScaleX="134263">
        <dgm:presLayoutVars>
          <dgm:bulletEnabled val="1"/>
        </dgm:presLayoutVars>
      </dgm:prSet>
      <dgm:spPr>
        <a:solidFill>
          <a:schemeClr val="accent2">
            <a:lumMod val="60000"/>
            <a:lumOff val="40000"/>
            <a:alpha val="90000"/>
          </a:schemeClr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ru-RU"/>
        </a:p>
      </dgm:t>
    </dgm:pt>
    <dgm:pt modelId="{DEDB7313-63FB-436C-8B30-238E6088FADC}" type="pres">
      <dgm:prSet presAssocID="{BC3B4D35-3D9D-4D97-8062-732BF5C6857D}" presName="childTextHidden" presStyleLbl="bgAccFollowNode1" presStyleIdx="2" presStyleCnt="3"/>
      <dgm:spPr/>
      <dgm:t>
        <a:bodyPr/>
        <a:lstStyle/>
        <a:p>
          <a:endParaRPr lang="ru-RU"/>
        </a:p>
      </dgm:t>
    </dgm:pt>
    <dgm:pt modelId="{0F419CD8-3EB2-48ED-ACD0-87CF1B0357EA}" type="pres">
      <dgm:prSet presAssocID="{BC3B4D35-3D9D-4D97-8062-732BF5C6857D}" presName="parentText" presStyleLbl="node1" presStyleIdx="2" presStyleCnt="3" custLinFactNeighborX="-6978" custLinFactNeighborY="5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32AF355-9918-437B-97B8-59D75AAE0D52}" type="presOf" srcId="{7DABDA3C-CFA9-436E-8791-36641FDD9060}" destId="{1807C9AD-FDA5-4D43-B66C-B435828B3D5F}" srcOrd="0" destOrd="0" presId="urn:microsoft.com/office/officeart/2005/8/layout/hProcess6"/>
    <dgm:cxn modelId="{92055C90-EB1C-46F4-8AFB-9D446831289B}" srcId="{7DABDA3C-CFA9-436E-8791-36641FDD9060}" destId="{BC3B4D35-3D9D-4D97-8062-732BF5C6857D}" srcOrd="2" destOrd="0" parTransId="{4F98118E-45B1-4F5D-8B6B-9C0C8DFC468A}" sibTransId="{AF03F857-BF17-4924-BAB0-99B4D0556F41}"/>
    <dgm:cxn modelId="{FB4753BD-E489-4E58-AEE9-CB0580193F15}" type="presOf" srcId="{BC3B4D35-3D9D-4D97-8062-732BF5C6857D}" destId="{0F419CD8-3EB2-48ED-ACD0-87CF1B0357EA}" srcOrd="0" destOrd="0" presId="urn:microsoft.com/office/officeart/2005/8/layout/hProcess6"/>
    <dgm:cxn modelId="{D160B3A1-2C7E-4926-851B-B6130F1A88C9}" srcId="{7DABDA3C-CFA9-436E-8791-36641FDD9060}" destId="{C32F4968-34FC-4802-8686-FA7D40F33954}" srcOrd="1" destOrd="0" parTransId="{95CC162B-3690-4740-BB13-AEBB83B4B01B}" sibTransId="{50672149-85AF-4BC1-8DA2-83A8B5951126}"/>
    <dgm:cxn modelId="{0A43D586-8EA3-4A1E-8E78-082FD741AB3F}" type="presOf" srcId="{C32F4968-34FC-4802-8686-FA7D40F33954}" destId="{84BE9BF1-F7DB-4713-AA79-8E95D84C4641}" srcOrd="0" destOrd="0" presId="urn:microsoft.com/office/officeart/2005/8/layout/hProcess6"/>
    <dgm:cxn modelId="{AB49D3C2-9EB2-4CB7-B616-1A60C51D2BCD}" srcId="{7DABDA3C-CFA9-436E-8791-36641FDD9060}" destId="{EA321B52-C407-4FA9-B55D-438C3C7EA774}" srcOrd="0" destOrd="0" parTransId="{91A63E5A-0ECC-45AB-8FAC-25DD5E75B04E}" sibTransId="{E420E2B8-60ED-4F40-8328-12851C79CC2D}"/>
    <dgm:cxn modelId="{E7B8B35D-E7CF-4AE4-8A4A-D200733EEDB4}" type="presOf" srcId="{EA321B52-C407-4FA9-B55D-438C3C7EA774}" destId="{D5482FDA-6705-436C-8A42-03B558BDB6EE}" srcOrd="0" destOrd="0" presId="urn:microsoft.com/office/officeart/2005/8/layout/hProcess6"/>
    <dgm:cxn modelId="{68D360C7-BA82-4DC4-8443-C5C88FCF5AF7}" type="presParOf" srcId="{1807C9AD-FDA5-4D43-B66C-B435828B3D5F}" destId="{72096C0F-CC25-4F63-9CA9-983F8706988E}" srcOrd="0" destOrd="0" presId="urn:microsoft.com/office/officeart/2005/8/layout/hProcess6"/>
    <dgm:cxn modelId="{5E5BE21C-1E06-4AEE-85BF-36CCA725DE9C}" type="presParOf" srcId="{72096C0F-CC25-4F63-9CA9-983F8706988E}" destId="{9B73576B-33C5-4CD7-A568-FC47A663D1FE}" srcOrd="0" destOrd="0" presId="urn:microsoft.com/office/officeart/2005/8/layout/hProcess6"/>
    <dgm:cxn modelId="{712AE691-F708-40B5-BA85-D738299EA921}" type="presParOf" srcId="{72096C0F-CC25-4F63-9CA9-983F8706988E}" destId="{F3134B74-F698-4A04-ADE3-BC045AE4A5D9}" srcOrd="1" destOrd="0" presId="urn:microsoft.com/office/officeart/2005/8/layout/hProcess6"/>
    <dgm:cxn modelId="{6323EC9B-B4EC-4A35-9346-213A307363DE}" type="presParOf" srcId="{72096C0F-CC25-4F63-9CA9-983F8706988E}" destId="{533C4105-A6CB-4AE8-985C-7B86726356B9}" srcOrd="2" destOrd="0" presId="urn:microsoft.com/office/officeart/2005/8/layout/hProcess6"/>
    <dgm:cxn modelId="{AB6225A6-8DA6-4206-8286-45DCA93DD913}" type="presParOf" srcId="{72096C0F-CC25-4F63-9CA9-983F8706988E}" destId="{D5482FDA-6705-436C-8A42-03B558BDB6EE}" srcOrd="3" destOrd="0" presId="urn:microsoft.com/office/officeart/2005/8/layout/hProcess6"/>
    <dgm:cxn modelId="{B8DBEF6E-C163-40C1-804E-0A8C6AF567FD}" type="presParOf" srcId="{1807C9AD-FDA5-4D43-B66C-B435828B3D5F}" destId="{04A2BB35-507B-4D10-A7B3-17C2AC5A752E}" srcOrd="1" destOrd="0" presId="urn:microsoft.com/office/officeart/2005/8/layout/hProcess6"/>
    <dgm:cxn modelId="{13A89C1D-BF65-4A19-954D-9C9D89F7BF1B}" type="presParOf" srcId="{1807C9AD-FDA5-4D43-B66C-B435828B3D5F}" destId="{E98FE914-F7A6-4E0B-932D-2507E5BBCFFC}" srcOrd="2" destOrd="0" presId="urn:microsoft.com/office/officeart/2005/8/layout/hProcess6"/>
    <dgm:cxn modelId="{6B977296-65FD-42E7-A0D1-A44F118D0FC3}" type="presParOf" srcId="{E98FE914-F7A6-4E0B-932D-2507E5BBCFFC}" destId="{9FEFDCB5-3FC4-4912-AE46-5489024D6F18}" srcOrd="0" destOrd="0" presId="urn:microsoft.com/office/officeart/2005/8/layout/hProcess6"/>
    <dgm:cxn modelId="{19A75025-1C72-497D-B85E-EF5C279C1746}" type="presParOf" srcId="{E98FE914-F7A6-4E0B-932D-2507E5BBCFFC}" destId="{EFB57B24-4A7A-4142-92FC-81C4BCB3D3D6}" srcOrd="1" destOrd="0" presId="urn:microsoft.com/office/officeart/2005/8/layout/hProcess6"/>
    <dgm:cxn modelId="{DF843B6B-E090-4BE9-BB1E-51CA57201108}" type="presParOf" srcId="{E98FE914-F7A6-4E0B-932D-2507E5BBCFFC}" destId="{447203EC-A1C3-4AE1-B1BD-F13E701FB360}" srcOrd="2" destOrd="0" presId="urn:microsoft.com/office/officeart/2005/8/layout/hProcess6"/>
    <dgm:cxn modelId="{EB0925D1-57B8-4491-B85F-CCB313A9D0FD}" type="presParOf" srcId="{E98FE914-F7A6-4E0B-932D-2507E5BBCFFC}" destId="{84BE9BF1-F7DB-4713-AA79-8E95D84C4641}" srcOrd="3" destOrd="0" presId="urn:microsoft.com/office/officeart/2005/8/layout/hProcess6"/>
    <dgm:cxn modelId="{CDCD9D42-AE3E-4624-94EA-C1EE8B6787EB}" type="presParOf" srcId="{1807C9AD-FDA5-4D43-B66C-B435828B3D5F}" destId="{4B24962E-8EBB-464A-8DA6-FC9576EA6B9D}" srcOrd="3" destOrd="0" presId="urn:microsoft.com/office/officeart/2005/8/layout/hProcess6"/>
    <dgm:cxn modelId="{F9D532F1-3601-4375-9AA5-5A90C03F29EC}" type="presParOf" srcId="{1807C9AD-FDA5-4D43-B66C-B435828B3D5F}" destId="{AC631ECF-DE8F-4404-B93C-5AF427BBE1F9}" srcOrd="4" destOrd="0" presId="urn:microsoft.com/office/officeart/2005/8/layout/hProcess6"/>
    <dgm:cxn modelId="{687E8864-D0A8-491E-AE97-E75054C9BCF5}" type="presParOf" srcId="{AC631ECF-DE8F-4404-B93C-5AF427BBE1F9}" destId="{E504BE6A-9B44-40CD-88A3-F69D2D655E58}" srcOrd="0" destOrd="0" presId="urn:microsoft.com/office/officeart/2005/8/layout/hProcess6"/>
    <dgm:cxn modelId="{FEC3EF8F-A7E6-407F-BC7A-3A92A12D9ED1}" type="presParOf" srcId="{AC631ECF-DE8F-4404-B93C-5AF427BBE1F9}" destId="{AC1681D6-4DD3-412F-BE16-60E7DBBAF1A7}" srcOrd="1" destOrd="0" presId="urn:microsoft.com/office/officeart/2005/8/layout/hProcess6"/>
    <dgm:cxn modelId="{E508D60E-B781-43E8-B3AD-4AB80AFB00A2}" type="presParOf" srcId="{AC631ECF-DE8F-4404-B93C-5AF427BBE1F9}" destId="{DEDB7313-63FB-436C-8B30-238E6088FADC}" srcOrd="2" destOrd="0" presId="urn:microsoft.com/office/officeart/2005/8/layout/hProcess6"/>
    <dgm:cxn modelId="{ED459FB5-535F-437D-9E43-4E1A5F9BE09F}" type="presParOf" srcId="{AC631ECF-DE8F-4404-B93C-5AF427BBE1F9}" destId="{0F419CD8-3EB2-48ED-ACD0-87CF1B0357EA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17CAE6-1C79-4F85-9A97-3925C9C80EB4}">
      <dsp:nvSpPr>
        <dsp:cNvPr id="0" name=""/>
        <dsp:cNvSpPr/>
      </dsp:nvSpPr>
      <dsp:spPr>
        <a:xfrm>
          <a:off x="4419081" y="0"/>
          <a:ext cx="4357038" cy="1719261"/>
        </a:xfrm>
        <a:prstGeom prst="triangl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НАЛОГОВАЯ ПОЛИТИКА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5508341" y="859631"/>
        <a:ext cx="2178519" cy="859630"/>
      </dsp:txXfrm>
    </dsp:sp>
    <dsp:sp modelId="{D9B96C54-C9AC-4741-B40E-1334AAF7151A}">
      <dsp:nvSpPr>
        <dsp:cNvPr id="0" name=""/>
        <dsp:cNvSpPr/>
      </dsp:nvSpPr>
      <dsp:spPr>
        <a:xfrm>
          <a:off x="2370108" y="1719261"/>
          <a:ext cx="4061617" cy="1719261"/>
        </a:xfrm>
        <a:prstGeom prst="triangl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БЮДЖЕТНАЯ ПОЛИТИКА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3385512" y="2578892"/>
        <a:ext cx="2030809" cy="859630"/>
      </dsp:txXfrm>
    </dsp:sp>
    <dsp:sp modelId="{A7BCB755-12FF-4087-9649-9D593D76CB33}">
      <dsp:nvSpPr>
        <dsp:cNvPr id="0" name=""/>
        <dsp:cNvSpPr/>
      </dsp:nvSpPr>
      <dsp:spPr>
        <a:xfrm rot="10800000">
          <a:off x="5737970" y="1719261"/>
          <a:ext cx="1719261" cy="1719261"/>
        </a:xfrm>
        <a:prstGeom prst="triangl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chemeClr val="tx1"/>
            </a:solidFill>
          </a:endParaRPr>
        </a:p>
      </dsp:txBody>
      <dsp:txXfrm rot="10800000">
        <a:off x="6167785" y="1719261"/>
        <a:ext cx="859631" cy="859630"/>
      </dsp:txXfrm>
    </dsp:sp>
    <dsp:sp modelId="{0EF4FA56-48CD-4DF3-93C5-B7F54A0919DF}">
      <dsp:nvSpPr>
        <dsp:cNvPr id="0" name=""/>
        <dsp:cNvSpPr/>
      </dsp:nvSpPr>
      <dsp:spPr>
        <a:xfrm>
          <a:off x="6800576" y="1719261"/>
          <a:ext cx="3998314" cy="1719261"/>
        </a:xfrm>
        <a:prstGeom prst="triangl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tx1"/>
              </a:solidFill>
            </a:rPr>
            <a:t>ДОЛГОВАЯ ПОЛИТИКА</a:t>
          </a:r>
          <a:endParaRPr lang="ru-RU" sz="1600" b="1" kern="1200" dirty="0">
            <a:solidFill>
              <a:schemeClr val="tx1"/>
            </a:solidFill>
          </a:endParaRPr>
        </a:p>
      </dsp:txBody>
      <dsp:txXfrm>
        <a:off x="7800155" y="2578892"/>
        <a:ext cx="1999157" cy="8596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D3E103-8A36-45DC-B5C3-CF22D009CA52}">
      <dsp:nvSpPr>
        <dsp:cNvPr id="0" name=""/>
        <dsp:cNvSpPr/>
      </dsp:nvSpPr>
      <dsp:spPr>
        <a:xfrm>
          <a:off x="1631955" y="0"/>
          <a:ext cx="5461000" cy="5461000"/>
        </a:xfrm>
        <a:prstGeom prst="triangl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F70D70-AE55-4C94-8AFA-BB59D843C24B}">
      <dsp:nvSpPr>
        <dsp:cNvPr id="0" name=""/>
        <dsp:cNvSpPr/>
      </dsp:nvSpPr>
      <dsp:spPr>
        <a:xfrm>
          <a:off x="4387853" y="489482"/>
          <a:ext cx="5594354" cy="970607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оддержка инвестиционной активности хозяйствующих субъектов</a:t>
          </a:r>
          <a:endParaRPr lang="ru-RU" sz="2000" kern="1200" dirty="0"/>
        </a:p>
      </dsp:txBody>
      <dsp:txXfrm>
        <a:off x="4435234" y="536863"/>
        <a:ext cx="5499592" cy="875845"/>
      </dsp:txXfrm>
    </dsp:sp>
    <dsp:sp modelId="{26D55FEB-4075-445C-B970-88647CC17B89}">
      <dsp:nvSpPr>
        <dsp:cNvPr id="0" name=""/>
        <dsp:cNvSpPr/>
      </dsp:nvSpPr>
      <dsp:spPr>
        <a:xfrm>
          <a:off x="4359261" y="1667141"/>
          <a:ext cx="5613416" cy="970607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Оценка эффективности налоговых расходов</a:t>
          </a:r>
        </a:p>
      </dsp:txBody>
      <dsp:txXfrm>
        <a:off x="4406642" y="1714522"/>
        <a:ext cx="5518654" cy="875845"/>
      </dsp:txXfrm>
    </dsp:sp>
    <dsp:sp modelId="{4E953DC2-6933-4277-B628-047DB8510980}">
      <dsp:nvSpPr>
        <dsp:cNvPr id="0" name=""/>
        <dsp:cNvSpPr/>
      </dsp:nvSpPr>
      <dsp:spPr>
        <a:xfrm>
          <a:off x="4378340" y="2749549"/>
          <a:ext cx="5613381" cy="970607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Совершенствование администрирования налоговых и неналоговых доходов</a:t>
          </a:r>
        </a:p>
      </dsp:txBody>
      <dsp:txXfrm>
        <a:off x="4425721" y="2796930"/>
        <a:ext cx="5518619" cy="875845"/>
      </dsp:txXfrm>
    </dsp:sp>
    <dsp:sp modelId="{6C7978A6-8AEA-4A05-ABB1-78B7426E7812}">
      <dsp:nvSpPr>
        <dsp:cNvPr id="0" name=""/>
        <dsp:cNvSpPr/>
      </dsp:nvSpPr>
      <dsp:spPr>
        <a:xfrm>
          <a:off x="4362491" y="3860533"/>
          <a:ext cx="5664176" cy="970607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овышение эффективности управления муниципальными активами</a:t>
          </a:r>
        </a:p>
      </dsp:txBody>
      <dsp:txXfrm>
        <a:off x="4409872" y="3907914"/>
        <a:ext cx="5569414" cy="8758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D3E103-8A36-45DC-B5C3-CF22D009CA52}">
      <dsp:nvSpPr>
        <dsp:cNvPr id="0" name=""/>
        <dsp:cNvSpPr/>
      </dsp:nvSpPr>
      <dsp:spPr>
        <a:xfrm>
          <a:off x="1644645" y="0"/>
          <a:ext cx="5461000" cy="5461000"/>
        </a:xfrm>
        <a:prstGeom prst="triangl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F70D70-AE55-4C94-8AFA-BB59D843C24B}">
      <dsp:nvSpPr>
        <dsp:cNvPr id="0" name=""/>
        <dsp:cNvSpPr/>
      </dsp:nvSpPr>
      <dsp:spPr>
        <a:xfrm>
          <a:off x="4400543" y="472916"/>
          <a:ext cx="5594354" cy="1292721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chemeClr val="tx1"/>
              </a:solidFill>
            </a:rPr>
            <a:t>Концентрация ресурсов на достижении результатов мероприятий муниципальных программ</a:t>
          </a:r>
          <a:endParaRPr lang="ru-RU" sz="2000" kern="1200" dirty="0"/>
        </a:p>
      </dsp:txBody>
      <dsp:txXfrm>
        <a:off x="4463648" y="536021"/>
        <a:ext cx="5468144" cy="1166511"/>
      </dsp:txXfrm>
    </dsp:sp>
    <dsp:sp modelId="{26D55FEB-4075-445C-B970-88647CC17B89}">
      <dsp:nvSpPr>
        <dsp:cNvPr id="0" name=""/>
        <dsp:cNvSpPr/>
      </dsp:nvSpPr>
      <dsp:spPr>
        <a:xfrm>
          <a:off x="4371951" y="2041402"/>
          <a:ext cx="5613416" cy="1292721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овышение эффективности расходования бюджетных средств</a:t>
          </a:r>
        </a:p>
      </dsp:txBody>
      <dsp:txXfrm>
        <a:off x="4435056" y="2104507"/>
        <a:ext cx="5487206" cy="1166511"/>
      </dsp:txXfrm>
    </dsp:sp>
    <dsp:sp modelId="{4E953DC2-6933-4277-B628-047DB8510980}">
      <dsp:nvSpPr>
        <dsp:cNvPr id="0" name=""/>
        <dsp:cNvSpPr/>
      </dsp:nvSpPr>
      <dsp:spPr>
        <a:xfrm>
          <a:off x="4391030" y="3597327"/>
          <a:ext cx="5613381" cy="1292721"/>
        </a:xfrm>
        <a:prstGeom prst="roundRect">
          <a:avLst/>
        </a:prstGeom>
        <a:solidFill>
          <a:schemeClr val="accent5">
            <a:lumMod val="9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овышение качества финансового менеджмента</a:t>
          </a:r>
        </a:p>
      </dsp:txBody>
      <dsp:txXfrm>
        <a:off x="4454135" y="3660432"/>
        <a:ext cx="5487171" cy="11665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8798</cdr:x>
      <cdr:y>0.2509</cdr:y>
    </cdr:from>
    <cdr:to>
      <cdr:x>0.45736</cdr:x>
      <cdr:y>0.4891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923926" y="1130733"/>
          <a:ext cx="1323974" cy="10736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 rtl="0" fontAlgn="base">
            <a:spcBef>
              <a:spcPct val="0"/>
            </a:spcBef>
            <a:spcAft>
              <a:spcPct val="0"/>
            </a:spcAft>
          </a:pPr>
          <a:r>
            <a:rPr lang="ru-RU" sz="2400" b="1" dirty="0" smtClean="0">
              <a:latin typeface="Arial Cyr" panose="020B0604020202020204" pitchFamily="34" charset="0"/>
              <a:cs typeface="Arial Cyr" panose="020B0604020202020204" pitchFamily="34" charset="0"/>
            </a:rPr>
            <a:t>  </a:t>
          </a:r>
          <a:r>
            <a:rPr lang="ru-RU" sz="2400" b="1" kern="1200" dirty="0" smtClean="0">
              <a:solidFill>
                <a:schemeClr val="accent6">
                  <a:lumMod val="50000"/>
                </a:schemeClr>
              </a:solidFill>
              <a:cs typeface="Arial" charset="0"/>
            </a:rPr>
            <a:t>890,4  </a:t>
          </a:r>
          <a:endParaRPr lang="ru-RU" sz="2400" b="1" kern="1200" dirty="0">
            <a:solidFill>
              <a:schemeClr val="accent6">
                <a:lumMod val="50000"/>
              </a:schemeClr>
            </a:solidFill>
            <a:cs typeface="Arial" charset="0"/>
          </a:endParaRPr>
        </a:p>
        <a:p xmlns:a="http://schemas.openxmlformats.org/drawingml/2006/main">
          <a:pPr algn="ctr" rtl="0" fontAlgn="base">
            <a:spcBef>
              <a:spcPct val="0"/>
            </a:spcBef>
            <a:spcAft>
              <a:spcPct val="0"/>
            </a:spcAft>
          </a:pPr>
          <a:r>
            <a:rPr lang="ru-RU" sz="2400" b="1" kern="1200" dirty="0">
              <a:solidFill>
                <a:schemeClr val="accent6">
                  <a:lumMod val="50000"/>
                </a:schemeClr>
              </a:solidFill>
              <a:cs typeface="Arial" charset="0"/>
            </a:rPr>
            <a:t>     17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8333</cdr:x>
      <cdr:y>0.15736</cdr:y>
    </cdr:from>
    <cdr:to>
      <cdr:x>0.38776</cdr:x>
      <cdr:y>0.27738</cdr:y>
    </cdr:to>
    <cdr:sp macro="" textlink="">
      <cdr:nvSpPr>
        <cdr:cNvPr id="2" name="Скругленный прямоугольник 1"/>
        <cdr:cNvSpPr/>
      </cdr:nvSpPr>
      <cdr:spPr>
        <a:xfrm xmlns:a="http://schemas.openxmlformats.org/drawingml/2006/main">
          <a:off x="2754245" y="590552"/>
          <a:ext cx="1015172" cy="450400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278,8</a:t>
          </a:r>
          <a:endParaRPr lang="ru-RU" sz="2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83018</cdr:x>
      <cdr:y>0.13706</cdr:y>
    </cdr:from>
    <cdr:to>
      <cdr:x>0.9346</cdr:x>
      <cdr:y>0.25028</cdr:y>
    </cdr:to>
    <cdr:sp macro="" textlink="">
      <cdr:nvSpPr>
        <cdr:cNvPr id="3" name="Скругленный прямоугольник 2"/>
        <cdr:cNvSpPr/>
      </cdr:nvSpPr>
      <cdr:spPr>
        <a:xfrm xmlns:a="http://schemas.openxmlformats.org/drawingml/2006/main">
          <a:off x="8070257" y="514351"/>
          <a:ext cx="1015075" cy="424913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291,3</a:t>
          </a:r>
          <a:endParaRPr lang="ru-RU" sz="1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69269</cdr:x>
      <cdr:y>0.13452</cdr:y>
    </cdr:from>
    <cdr:to>
      <cdr:x>0.79712</cdr:x>
      <cdr:y>0.24112</cdr:y>
    </cdr:to>
    <cdr:sp macro="" textlink="">
      <cdr:nvSpPr>
        <cdr:cNvPr id="4" name="Скругленный прямоугольник 3"/>
        <cdr:cNvSpPr/>
      </cdr:nvSpPr>
      <cdr:spPr>
        <a:xfrm xmlns:a="http://schemas.openxmlformats.org/drawingml/2006/main">
          <a:off x="7079479" y="504826"/>
          <a:ext cx="1067308" cy="400049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306,3</a:t>
          </a:r>
          <a:endParaRPr lang="ru-RU" sz="1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5463</cdr:x>
      <cdr:y>0.16244</cdr:y>
    </cdr:from>
    <cdr:to>
      <cdr:x>0.65905</cdr:x>
      <cdr:y>0.28073</cdr:y>
    </cdr:to>
    <cdr:sp macro="" textlink="">
      <cdr:nvSpPr>
        <cdr:cNvPr id="5" name="Скругленный прямоугольник 4"/>
        <cdr:cNvSpPr/>
      </cdr:nvSpPr>
      <cdr:spPr>
        <a:xfrm xmlns:a="http://schemas.openxmlformats.org/drawingml/2006/main">
          <a:off x="5668479" y="609601"/>
          <a:ext cx="1067206" cy="443926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288,7</a:t>
          </a:r>
          <a:endParaRPr lang="ru-RU" sz="1400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1912</cdr:x>
      <cdr:y>0.16498</cdr:y>
    </cdr:from>
    <cdr:to>
      <cdr:x>0.52354</cdr:x>
      <cdr:y>0.27607</cdr:y>
    </cdr:to>
    <cdr:sp macro="" textlink="">
      <cdr:nvSpPr>
        <cdr:cNvPr id="6" name="Скругленный прямоугольник 5"/>
        <cdr:cNvSpPr/>
      </cdr:nvSpPr>
      <cdr:spPr>
        <a:xfrm xmlns:a="http://schemas.openxmlformats.org/drawingml/2006/main">
          <a:off x="4283531" y="619127"/>
          <a:ext cx="1067206" cy="416914"/>
        </a:xfrm>
        <a:prstGeom xmlns:a="http://schemas.openxmlformats.org/drawingml/2006/main" prst="roundRect">
          <a:avLst/>
        </a:prstGeom>
        <a:solidFill xmlns:a="http://schemas.openxmlformats.org/drawingml/2006/main">
          <a:srgbClr val="FFDE75">
            <a:alpha val="80000"/>
          </a:srgb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</a:pPr>
          <a:r>
            <a:rPr lang="ru-RU" sz="1600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+mj-lt"/>
              <a:cs typeface="Times New Roman" pitchFamily="18" charset="0"/>
            </a:rPr>
            <a:t>301,3</a:t>
          </a:r>
          <a:endParaRPr lang="ru-RU" dirty="0">
            <a:ln>
              <a:solidFill>
                <a:schemeClr val="tx1"/>
              </a:solidFill>
            </a:ln>
            <a:solidFill>
              <a:schemeClr val="tx1"/>
            </a:solidFill>
            <a:latin typeface="+mj-lt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5126</cdr:x>
      <cdr:y>0.75381</cdr:y>
    </cdr:from>
    <cdr:to>
      <cdr:x>0.27679</cdr:x>
      <cdr:y>0.88585</cdr:y>
    </cdr:to>
    <cdr:sp macro="" textlink="">
      <cdr:nvSpPr>
        <cdr:cNvPr id="8" name="Скругленный прямоугольник 7"/>
        <cdr:cNvSpPr/>
      </cdr:nvSpPr>
      <cdr:spPr>
        <a:xfrm xmlns:a="http://schemas.openxmlformats.org/drawingml/2006/main">
          <a:off x="523875" y="2828926"/>
          <a:ext cx="2305050" cy="495535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rgbClr val="00B0F0"/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Уличное </a:t>
          </a:r>
          <a:r>
            <a:rPr lang="ru-RU" sz="1100" b="1" dirty="0">
              <a:solidFill>
                <a:schemeClr val="tx1"/>
              </a:solidFill>
            </a:rPr>
            <a:t>освещение</a:t>
          </a:r>
        </a:p>
      </cdr:txBody>
    </cdr:sp>
  </cdr:relSizeAnchor>
  <cdr:relSizeAnchor xmlns:cdr="http://schemas.openxmlformats.org/drawingml/2006/chartDrawing">
    <cdr:from>
      <cdr:x>0.05126</cdr:x>
      <cdr:y>0.59044</cdr:y>
    </cdr:from>
    <cdr:to>
      <cdr:x>0.27679</cdr:x>
      <cdr:y>0.72056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>
          <a:off x="523875" y="2215832"/>
          <a:ext cx="2305050" cy="488321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accent1">
            <a:lumMod val="60000"/>
            <a:lumOff val="40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Санитарная очистка</a:t>
          </a:r>
          <a:endParaRPr lang="ru-RU" sz="11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05126</cdr:x>
      <cdr:y>0.44906</cdr:y>
    </cdr:from>
    <cdr:to>
      <cdr:x>0.27679</cdr:x>
      <cdr:y>0.55838</cdr:y>
    </cdr:to>
    <cdr:sp macro="" textlink="">
      <cdr:nvSpPr>
        <cdr:cNvPr id="10" name="Скругленный прямоугольник 9"/>
        <cdr:cNvSpPr/>
      </cdr:nvSpPr>
      <cdr:spPr>
        <a:xfrm xmlns:a="http://schemas.openxmlformats.org/drawingml/2006/main">
          <a:off x="523875" y="1685262"/>
          <a:ext cx="2305050" cy="410239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accent4">
            <a:lumMod val="60000"/>
            <a:lumOff val="40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Озеленение</a:t>
          </a:r>
          <a:endParaRPr lang="ru-RU" sz="11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05126</cdr:x>
      <cdr:y>0.34612</cdr:y>
    </cdr:from>
    <cdr:to>
      <cdr:x>0.27866</cdr:x>
      <cdr:y>0.43336</cdr:y>
    </cdr:to>
    <cdr:sp macro="" textlink="">
      <cdr:nvSpPr>
        <cdr:cNvPr id="11" name="Скругленный прямоугольник 10"/>
        <cdr:cNvSpPr/>
      </cdr:nvSpPr>
      <cdr:spPr>
        <a:xfrm xmlns:a="http://schemas.openxmlformats.org/drawingml/2006/main">
          <a:off x="523875" y="1298943"/>
          <a:ext cx="2324100" cy="327399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tx2">
            <a:lumMod val="75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900"/>
            </a:lnSpc>
            <a:defRPr/>
          </a:pPr>
          <a:r>
            <a:rPr lang="ru-RU" sz="900" b="1" dirty="0" smtClean="0">
              <a:solidFill>
                <a:schemeClr val="tx1"/>
              </a:solidFill>
            </a:rPr>
            <a:t> </a:t>
          </a:r>
          <a:r>
            <a:rPr lang="ru-RU" sz="900" b="1" dirty="0" smtClean="0">
              <a:solidFill>
                <a:schemeClr val="bg1"/>
              </a:solidFill>
            </a:rPr>
            <a:t>Содержание мест захоронения</a:t>
          </a:r>
          <a:endParaRPr lang="ru-RU" sz="9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05126</cdr:x>
      <cdr:y>0.22469</cdr:y>
    </cdr:from>
    <cdr:to>
      <cdr:x>0.27679</cdr:x>
      <cdr:y>0.33259</cdr:y>
    </cdr:to>
    <cdr:sp macro="" textlink="">
      <cdr:nvSpPr>
        <cdr:cNvPr id="12" name="Скругленный прямоугольник 11"/>
        <cdr:cNvSpPr/>
      </cdr:nvSpPr>
      <cdr:spPr>
        <a:xfrm xmlns:a="http://schemas.openxmlformats.org/drawingml/2006/main">
          <a:off x="523875" y="843228"/>
          <a:ext cx="2305050" cy="404932"/>
        </a:xfrm>
        <a:prstGeom xmlns:a="http://schemas.openxmlformats.org/drawingml/2006/main" prst="roundRect">
          <a:avLst>
            <a:gd name="adj" fmla="val 32849"/>
          </a:avLst>
        </a:prstGeom>
        <a:solidFill xmlns:a="http://schemas.openxmlformats.org/drawingml/2006/main">
          <a:schemeClr val="bg1">
            <a:lumMod val="95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800"/>
            </a:lnSpc>
            <a:defRPr/>
          </a:pPr>
          <a:r>
            <a:rPr lang="ru-RU" sz="1100" b="1" dirty="0" smtClean="0">
              <a:solidFill>
                <a:schemeClr val="tx1"/>
              </a:solidFill>
            </a:rPr>
            <a:t> Прочее благоустройство</a:t>
          </a:r>
          <a:endParaRPr lang="ru-RU" sz="1100" b="1" dirty="0">
            <a:solidFill>
              <a:schemeClr val="tx1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5625</cdr:x>
      <cdr:y>0.30454</cdr:y>
    </cdr:from>
    <cdr:to>
      <cdr:x>0.42396</cdr:x>
      <cdr:y>0.38585</cdr:y>
    </cdr:to>
    <cdr:sp macro="" textlink="">
      <cdr:nvSpPr>
        <cdr:cNvPr id="3" name="TextBox 10"/>
        <cdr:cNvSpPr txBox="1"/>
      </cdr:nvSpPr>
      <cdr:spPr>
        <a:xfrm xmlns:a="http://schemas.openxmlformats.org/drawingml/2006/main">
          <a:off x="3257550" y="1900000"/>
          <a:ext cx="619124" cy="50728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Constantia" pitchFamily="18" charset="0"/>
              <a:cs typeface="Arial" charset="0"/>
            </a:defRPr>
          </a:lvl9pPr>
        </a:lstStyle>
        <a:p xmlns:a="http://schemas.openxmlformats.org/drawingml/2006/main">
          <a:r>
            <a:rPr lang="ru-RU" sz="2000" b="1" dirty="0" smtClean="0">
              <a:solidFill>
                <a:srgbClr val="2D2D8A">
                  <a:lumMod val="75000"/>
                </a:srgbClr>
              </a:solidFill>
              <a:latin typeface="Arial"/>
            </a:rPr>
            <a:t>870</a:t>
          </a:r>
          <a:endParaRPr lang="ru-RU" sz="2000" b="1" dirty="0">
            <a:solidFill>
              <a:srgbClr val="2D2D8A">
                <a:lumMod val="75000"/>
              </a:srgbClr>
            </a:solidFill>
            <a:latin typeface="Arial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936"/>
          </a:xfrm>
          <a:prstGeom prst="rect">
            <a:avLst/>
          </a:prstGeom>
        </p:spPr>
        <p:txBody>
          <a:bodyPr vert="horz" lIns="92134" tIns="46067" rIns="92134" bIns="4606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936"/>
          </a:xfrm>
          <a:prstGeom prst="rect">
            <a:avLst/>
          </a:prstGeom>
        </p:spPr>
        <p:txBody>
          <a:bodyPr vert="horz" lIns="92134" tIns="46067" rIns="92134" bIns="4606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83BADBB-64F6-471D-B8AE-580425B7978F}" type="datetimeFigureOut">
              <a:rPr lang="ru-RU"/>
              <a:pPr>
                <a:defRPr/>
              </a:pPr>
              <a:t>28.12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705"/>
            <a:ext cx="2945659" cy="495936"/>
          </a:xfrm>
          <a:prstGeom prst="rect">
            <a:avLst/>
          </a:prstGeom>
        </p:spPr>
        <p:txBody>
          <a:bodyPr vert="horz" lIns="92134" tIns="46067" rIns="92134" bIns="4606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30705"/>
            <a:ext cx="2945659" cy="495936"/>
          </a:xfrm>
          <a:prstGeom prst="rect">
            <a:avLst/>
          </a:prstGeom>
        </p:spPr>
        <p:txBody>
          <a:bodyPr vert="horz" lIns="92134" tIns="46067" rIns="92134" bIns="4606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5E7EEBD-20A0-4FAD-9243-CA67A256F90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59496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936"/>
          </a:xfrm>
          <a:prstGeom prst="rect">
            <a:avLst/>
          </a:prstGeom>
        </p:spPr>
        <p:txBody>
          <a:bodyPr vert="horz" lIns="91001" tIns="45501" rIns="91001" bIns="45501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936"/>
          </a:xfrm>
          <a:prstGeom prst="rect">
            <a:avLst/>
          </a:prstGeom>
        </p:spPr>
        <p:txBody>
          <a:bodyPr vert="horz" lIns="91001" tIns="45501" rIns="91001" bIns="45501" rtlCol="0"/>
          <a:lstStyle>
            <a:lvl1pPr algn="r">
              <a:defRPr sz="1200"/>
            </a:lvl1pPr>
          </a:lstStyle>
          <a:p>
            <a:fld id="{607AEF22-E25B-44DA-B24F-9CC886C17254}" type="datetimeFigureOut">
              <a:rPr lang="ru-RU" smtClean="0"/>
              <a:pPr/>
              <a:t>28.12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01" tIns="45501" rIns="91001" bIns="45501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352"/>
            <a:ext cx="5438140" cy="4468177"/>
          </a:xfrm>
          <a:prstGeom prst="rect">
            <a:avLst/>
          </a:prstGeom>
        </p:spPr>
        <p:txBody>
          <a:bodyPr vert="horz" lIns="91001" tIns="45501" rIns="91001" bIns="4550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705"/>
            <a:ext cx="2945659" cy="495936"/>
          </a:xfrm>
          <a:prstGeom prst="rect">
            <a:avLst/>
          </a:prstGeom>
        </p:spPr>
        <p:txBody>
          <a:bodyPr vert="horz" lIns="91001" tIns="45501" rIns="91001" bIns="45501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705"/>
            <a:ext cx="2945659" cy="495936"/>
          </a:xfrm>
          <a:prstGeom prst="rect">
            <a:avLst/>
          </a:prstGeom>
        </p:spPr>
        <p:txBody>
          <a:bodyPr vert="horz" lIns="91001" tIns="45501" rIns="91001" bIns="45501" rtlCol="0" anchor="b"/>
          <a:lstStyle>
            <a:lvl1pPr algn="r">
              <a:defRPr sz="1200"/>
            </a:lvl1pPr>
          </a:lstStyle>
          <a:p>
            <a:fld id="{8F6A0201-F190-4276-9DB7-0D6DF8F672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6681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4F7DF28-DBB8-4ED4-A88B-47882B65AFF7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29891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1F869B92-2740-4E0E-BC54-13EC54046CA4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200716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547BBA99-97C5-4124-94F8-9F2913479529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412774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1463675" y="3549650"/>
            <a:ext cx="297180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/>
        </p:nvCxnSpPr>
        <p:spPr>
          <a:xfrm>
            <a:off x="4708525" y="3549650"/>
            <a:ext cx="297180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вал 5"/>
          <p:cNvSpPr/>
          <p:nvPr/>
        </p:nvSpPr>
        <p:spPr>
          <a:xfrm>
            <a:off x="4540250" y="3525838"/>
            <a:ext cx="46038" cy="46037"/>
          </a:xfrm>
          <a:prstGeom prst="ellipse">
            <a:avLst/>
          </a:prstGeom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2">
            <a:schemeClr val="accent2"/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457200" y="3699804"/>
            <a:ext cx="8305800" cy="1143000"/>
          </a:xfrm>
        </p:spPr>
        <p:txBody>
          <a:bodyPr>
            <a:noAutofit/>
          </a:bodyPr>
          <a:lstStyle>
            <a:lvl1pPr marL="0" indent="0" algn="ctr">
              <a:buNone/>
              <a:defRPr sz="2200" spc="10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28" name="Заголовок 27"/>
          <p:cNvSpPr>
            <a:spLocks noGrp="1"/>
          </p:cNvSpPr>
          <p:nvPr>
            <p:ph type="ctrTitle"/>
          </p:nvPr>
        </p:nvSpPr>
        <p:spPr>
          <a:xfrm>
            <a:off x="457200" y="1433732"/>
            <a:ext cx="8305800" cy="1981200"/>
          </a:xfrm>
          <a:ln w="6350" cap="rnd">
            <a:noFill/>
          </a:ln>
        </p:spPr>
        <p:txBody>
          <a:bodyPr>
            <a:noAutofit/>
          </a:bodyPr>
          <a:lstStyle>
            <a:lvl1pPr algn="ctr">
              <a:defRPr lang="en-US" sz="4800" b="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srgbClr val="000000">
                      <a:alpha val="70000"/>
                    </a:srgbClr>
                  </a:inn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Дата 1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5C8BA6-2429-49D2-80CA-FF27695CA99A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8" name="Номер слайда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09C430-27D9-4D12-AFC9-3A58A8DE94D6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0" name="Нижний колонтитул 1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7417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652535-7970-47B2-86B6-5A02A6D50D04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F1F871-4F6A-4333-82AC-57E04F323B66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0830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685800" y="4916488"/>
            <a:ext cx="7924800" cy="4762"/>
          </a:xfrm>
          <a:prstGeom prst="line">
            <a:avLst/>
          </a:prstGeom>
          <a:noFill/>
          <a:ln w="9525" cap="flat" cmpd="sng" algn="ctr">
            <a:solidFill>
              <a:srgbClr val="E9E9E8"/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05200"/>
            <a:ext cx="7924800" cy="1371600"/>
          </a:xfrm>
        </p:spPr>
        <p:txBody>
          <a:bodyPr>
            <a:noAutofit/>
          </a:bodyPr>
          <a:lstStyle>
            <a:lvl1pPr algn="l" rtl="0">
              <a:spcBef>
                <a:spcPct val="0"/>
              </a:spcBef>
              <a:buNone/>
              <a:defRPr lang="en-US" sz="4800" b="0" dirty="0">
                <a:ln w="3200">
                  <a:solidFill>
                    <a:schemeClr val="bg2">
                      <a:shade val="2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38100" dist="25400" dir="13500000">
                    <a:prstClr val="black">
                      <a:alpha val="70000"/>
                    </a:prstClr>
                  </a:inn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4958864"/>
            <a:ext cx="7924800" cy="984736"/>
          </a:xfrm>
        </p:spPr>
        <p:txBody>
          <a:bodyPr/>
          <a:lstStyle>
            <a:lvl1pPr marL="0" indent="0">
              <a:buNone/>
              <a:defRPr sz="2000" spc="100" baseline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C4E3C8-1DB7-4353-9239-289F89C575FE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BEA83D-275A-4B99-8FF6-FA6F06470C1B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9539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Объект 10"/>
          <p:cNvSpPr>
            <a:spLocks noGrp="1"/>
          </p:cNvSpPr>
          <p:nvPr>
            <p:ph sz="half" idx="1"/>
          </p:nvPr>
        </p:nvSpPr>
        <p:spPr>
          <a:xfrm>
            <a:off x="457200" y="1524000"/>
            <a:ext cx="4059936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Объект 12"/>
          <p:cNvSpPr>
            <a:spLocks noGrp="1"/>
          </p:cNvSpPr>
          <p:nvPr>
            <p:ph sz="half" idx="2"/>
          </p:nvPr>
        </p:nvSpPr>
        <p:spPr>
          <a:xfrm>
            <a:off x="4648200" y="1524000"/>
            <a:ext cx="4059936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EACAEE-4557-4B57-B099-9946CC235AFF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2D572D-92C6-4FC1-91CA-54A0A46BD5D8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2873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>
            <a:off x="563563" y="2179638"/>
            <a:ext cx="3748087" cy="158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4754563" y="2179638"/>
            <a:ext cx="3749675" cy="1587"/>
          </a:xfrm>
          <a:prstGeom prst="line">
            <a:avLst/>
          </a:prstGeom>
          <a:noFill/>
          <a:ln w="12700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4925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399593"/>
            <a:ext cx="4040188" cy="762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  <a:sp3d prstMaterial="flat"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600" b="1">
                <a:solidFill>
                  <a:schemeClr val="tx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2" name="Объект 31"/>
          <p:cNvSpPr>
            <a:spLocks noGrp="1"/>
          </p:cNvSpPr>
          <p:nvPr>
            <p:ph sz="half" idx="2"/>
          </p:nvPr>
        </p:nvSpPr>
        <p:spPr>
          <a:xfrm>
            <a:off x="457200" y="2201896"/>
            <a:ext cx="4038600" cy="391363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34" name="Объект 33"/>
          <p:cNvSpPr>
            <a:spLocks noGrp="1"/>
          </p:cNvSpPr>
          <p:nvPr>
            <p:ph sz="quarter" idx="4"/>
          </p:nvPr>
        </p:nvSpPr>
        <p:spPr>
          <a:xfrm>
            <a:off x="4649788" y="2201896"/>
            <a:ext cx="4038600" cy="391363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544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2" name="Текст 11"/>
          <p:cNvSpPr>
            <a:spLocks noGrp="1"/>
          </p:cNvSpPr>
          <p:nvPr>
            <p:ph type="body" idx="3"/>
          </p:nvPr>
        </p:nvSpPr>
        <p:spPr>
          <a:xfrm>
            <a:off x="4648200" y="1399593"/>
            <a:ext cx="4040188" cy="762000"/>
          </a:xfrm>
          <a:noFill/>
          <a:ln w="25400" cap="rnd" cmpd="sng" algn="ctr">
            <a:noFill/>
            <a:prstDash val="solid"/>
          </a:ln>
          <a:effectLst>
            <a:softEdge rad="63500"/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600" b="1" baseline="0">
                <a:solidFill>
                  <a:schemeClr val="tx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1F158C-EA81-4B3E-A926-160F5085B46A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1" name="Дата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65CC59-8E7D-4F07-869D-A10D46C73420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4435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652B82-C4AB-4F2F-810D-4A571FED67DC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4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95DE55-D306-410F-89BC-9B6DA3B7E688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5699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7BF1B3-724A-4101-B1D8-B875C5F33EBE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3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4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6B77DA-0FD1-426A-936F-197F71AE21B4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1383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E1B9F3BD-AEB6-4956-BD9D-F04BB99BE19B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169393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Объект 28"/>
          <p:cNvSpPr>
            <a:spLocks noGrp="1"/>
          </p:cNvSpPr>
          <p:nvPr>
            <p:ph sz="quarter" idx="1"/>
          </p:nvPr>
        </p:nvSpPr>
        <p:spPr>
          <a:xfrm>
            <a:off x="457200" y="457200"/>
            <a:ext cx="6248400" cy="5715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781800" y="1600200"/>
            <a:ext cx="1984248" cy="3733800"/>
          </a:xfrm>
        </p:spPr>
        <p:txBody>
          <a:bodyPr/>
          <a:lstStyle>
            <a:lvl1pPr marL="0" indent="0">
              <a:lnSpc>
                <a:spcPct val="1250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1" name="Заголовок 30"/>
          <p:cNvSpPr>
            <a:spLocks noGrp="1"/>
          </p:cNvSpPr>
          <p:nvPr>
            <p:ph type="title"/>
          </p:nvPr>
        </p:nvSpPr>
        <p:spPr>
          <a:xfrm>
            <a:off x="6781800" y="457200"/>
            <a:ext cx="1981200" cy="1066800"/>
          </a:xfrm>
        </p:spPr>
        <p:txBody>
          <a:bodyPr lIns="91440" tIns="91440"/>
          <a:lstStyle>
            <a:lvl1pPr algn="l">
              <a:buNone/>
              <a:defRPr sz="1800" b="1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2DD2A3-8B2A-4500-95BC-55F673EAE439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7D83CE-71C2-416C-BBAC-0B573061C5A1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8042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29400" y="457200"/>
            <a:ext cx="2057400" cy="1066800"/>
          </a:xfrm>
        </p:spPr>
        <p:txBody>
          <a:bodyPr lIns="91440" tIns="91440"/>
          <a:lstStyle>
            <a:lvl1pPr algn="l">
              <a:buNone/>
              <a:defRPr sz="1800" b="1" spc="-50" baseline="0">
                <a:ln w="3175"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57200" y="457200"/>
            <a:ext cx="6019800" cy="5562600"/>
          </a:xfrm>
          <a:solidFill>
            <a:schemeClr val="tx2">
              <a:tint val="40000"/>
            </a:schemeClr>
          </a:solidFill>
          <a:effectLst>
            <a:outerShdw blurRad="88900" sx="103000" sy="103000" algn="ctr" rotWithShape="0">
              <a:prstClr val="black">
                <a:alpha val="32000"/>
              </a:prstClr>
            </a:outerShdw>
            <a:softEdge rad="127000"/>
          </a:effectLst>
        </p:spPr>
        <p:txBody>
          <a:bodyPr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629400" y="1600200"/>
            <a:ext cx="2057400" cy="4419600"/>
          </a:xfrm>
        </p:spPr>
        <p:txBody>
          <a:bodyPr/>
          <a:lstStyle>
            <a:lvl1pPr marL="0" indent="0">
              <a:lnSpc>
                <a:spcPct val="125000"/>
              </a:lnSpc>
              <a:spcAft>
                <a:spcPts val="1000"/>
              </a:spcAft>
              <a:buFontTx/>
              <a:buNone/>
              <a:defRPr sz="1600" b="0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CCDDC-04D5-4E1D-AB9D-D253902994B0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A1002E-A170-4B9E-B516-48B9907A83F8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554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E23E6B-3A74-4A42-84BC-83A35DE1E7BA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BA9877-BCB7-4C36-9AC5-21A3CEB4B81E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8252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A88DBB-CE10-47A9-AABB-443BC4F377C3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D8F266-87B9-4653-B17D-9FACC4DF3C39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7721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4F7DF28-DBB8-4ED4-A88B-47882B65AFF7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528207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E1B9F3BD-AEB6-4956-BD9D-F04BB99BE19B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77713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AB9D488-0D00-405C-863F-A01FFCE35E6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191753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BD77EB22-2F1F-4D6D-A69A-33696A734E0F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773413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CD5756C1-0F88-44CC-B838-11393E9E3E8D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10564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791A471-2578-4C0D-A6F5-2A525756749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0145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AB9D488-0D00-405C-863F-A01FFCE35E6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334978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74268249-9FA6-4048-8E55-71D72C70AA0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17519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71417DA-15BA-4A99-9E11-197F777F3E3C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518193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AE14D74C-DF6A-4879-96D8-54F1694CAC93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16609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1F869B92-2740-4E0E-BC54-13EC54046CA4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28044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547BBA99-97C5-4124-94F8-9F2913479529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701723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BD77EB22-2F1F-4D6D-A69A-33696A734E0F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124147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CD5756C1-0F88-44CC-B838-11393E9E3E8D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58155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4791A471-2578-4C0D-A6F5-2A5257567496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181536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74268249-9FA6-4048-8E55-71D72C70AA0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97705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871417DA-15BA-4A99-9E11-197F777F3E3C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10466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onstantia" pitchFamily="18" charset="0"/>
              </a:defRPr>
            </a:lvl1pPr>
          </a:lstStyle>
          <a:p>
            <a:pPr>
              <a:defRPr/>
            </a:pPr>
            <a:fld id="{AE14D74C-DF6A-4879-96D8-54F1694CAC93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64474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cambiar el estilo de título	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modificar el estilo de texto del patrón</a:t>
            </a:r>
          </a:p>
          <a:p>
            <a:pPr lvl="1"/>
            <a:r>
              <a:rPr lang="es-ES" altLang="ru-RU" smtClean="0"/>
              <a:t>Segundo nivel</a:t>
            </a:r>
          </a:p>
          <a:p>
            <a:pPr lvl="2"/>
            <a:r>
              <a:rPr lang="es-ES" altLang="ru-RU" smtClean="0"/>
              <a:t>Tercer nivel</a:t>
            </a:r>
          </a:p>
          <a:p>
            <a:pPr lvl="3"/>
            <a:r>
              <a:rPr lang="es-ES" altLang="ru-RU" smtClean="0"/>
              <a:t>Cuarto nivel</a:t>
            </a:r>
          </a:p>
          <a:p>
            <a:pPr lvl="4"/>
            <a:r>
              <a:rPr lang="es-ES" altLang="ru-RU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E6B3FB2E-1CFF-4CF0-9D2C-9B5A18B6095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86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Текст 8"/>
          <p:cNvSpPr>
            <a:spLocks noGrp="1"/>
          </p:cNvSpPr>
          <p:nvPr>
            <p:ph type="body" idx="1"/>
          </p:nvPr>
        </p:nvSpPr>
        <p:spPr bwMode="auto">
          <a:xfrm>
            <a:off x="457200" y="1447800"/>
            <a:ext cx="8229600" cy="467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5791200" y="6203950"/>
            <a:ext cx="2590800" cy="38417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509F436-4486-473A-8487-C42B3B4F8596}" type="datetimeFigureOut">
              <a:rPr lang="ru-RU">
                <a:solidFill>
                  <a:srgbClr val="FEFAC9"/>
                </a:solidFill>
              </a:rPr>
              <a:pPr>
                <a:defRPr/>
              </a:pPr>
              <a:t>28.12.2019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2133600" y="6203950"/>
            <a:ext cx="3581400" cy="384175"/>
          </a:xfrm>
          <a:prstGeom prst="rect">
            <a:avLst/>
          </a:prstGeom>
        </p:spPr>
        <p:txBody>
          <a:bodyPr vert="horz" anchor="ctr" anchorCtr="0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410575" y="6181725"/>
            <a:ext cx="609600" cy="457200"/>
          </a:xfrm>
          <a:prstGeom prst="rect">
            <a:avLst/>
          </a:prstGeom>
          <a:noFill/>
        </p:spPr>
        <p:txBody>
          <a:bodyPr vert="horz" lIns="0" tIns="0" rIns="0" bIns="0" anchor="ctr" anchorCtr="0">
            <a:no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600" baseline="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AD7E48C-1E51-4651-BA25-8E4CA416798E}" type="slidenum">
              <a:rPr lang="ru-RU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219200"/>
          </a:xfrm>
          <a:prstGeom prst="rect">
            <a:avLst/>
          </a:prstGeom>
          <a:ln w="6350" cap="rnd">
            <a:noFill/>
          </a:ln>
        </p:spPr>
        <p:txBody>
          <a:bodyPr vert="horz" anchor="b" anchorCtr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4899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4200" kern="1200" spc="-100" dirty="0">
          <a:ln w="3200">
            <a:solidFill>
              <a:schemeClr val="bg2">
                <a:shade val="75000"/>
                <a:alpha val="25000"/>
              </a:schemeClr>
            </a:solidFill>
            <a:prstDash val="solid"/>
            <a:round/>
          </a:ln>
          <a:solidFill>
            <a:srgbClr val="F9F9F9"/>
          </a:solidFill>
          <a:effectLst>
            <a:innerShdw blurRad="50800" dist="25400" dir="13500000">
              <a:prstClr val="black">
                <a:alpha val="70000"/>
              </a:prstClr>
            </a:inn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200">
          <a:solidFill>
            <a:srgbClr val="F9F9F9"/>
          </a:solidFill>
          <a:latin typeface="Constantia" pitchFamily="18" charset="0"/>
        </a:defRPr>
      </a:lvl9pPr>
    </p:titleStyle>
    <p:bodyStyle>
      <a:lvl1pPr marL="273050" indent="-273050" algn="l" rtl="0" eaLnBrk="0" fontAlgn="base" hangingPunct="0">
        <a:spcBef>
          <a:spcPts val="600"/>
        </a:spcBef>
        <a:spcAft>
          <a:spcPct val="0"/>
        </a:spcAft>
        <a:buClr>
          <a:schemeClr val="accent2"/>
        </a:buClr>
        <a:buSzPct val="85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300"/>
        </a:spcBef>
        <a:spcAft>
          <a:spcPct val="0"/>
        </a:spcAft>
        <a:buClr>
          <a:srgbClr val="D6903D"/>
        </a:buClr>
        <a:buSzPct val="85000"/>
        <a:buFont typeface="Wingdings 2" pitchFamily="18" charset="2"/>
        <a:buChar char="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004888" indent="-228600" algn="l" rtl="0" eaLnBrk="0" fontAlgn="base" hangingPunct="0">
        <a:spcBef>
          <a:spcPts val="300"/>
        </a:spcBef>
        <a:spcAft>
          <a:spcPct val="0"/>
        </a:spcAft>
        <a:buClr>
          <a:srgbClr val="B37732"/>
        </a:buClr>
        <a:buSzPct val="85000"/>
        <a:buFont typeface="Wingdings 2" pitchFamily="18" charset="2"/>
        <a:buChar char="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28600" algn="l" rtl="0" eaLnBrk="0" fontAlgn="base" hangingPunct="0">
        <a:spcBef>
          <a:spcPts val="300"/>
        </a:spcBef>
        <a:spcAft>
          <a:spcPct val="0"/>
        </a:spcAft>
        <a:buClr>
          <a:srgbClr val="D6903D"/>
        </a:buClr>
        <a:buSzPct val="85000"/>
        <a:buFont typeface="Wingdings 2" pitchFamily="18" charset="2"/>
        <a:buChar char="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163" indent="-228600" algn="l" rtl="0" eaLnBrk="0" fontAlgn="base" hangingPunct="0">
        <a:spcBef>
          <a:spcPts val="338"/>
        </a:spcBef>
        <a:spcAft>
          <a:spcPct val="0"/>
        </a:spcAft>
        <a:buClr>
          <a:srgbClr val="D6903D"/>
        </a:buClr>
        <a:buSzPct val="85000"/>
        <a:buFont typeface="Wingdings 2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28800" indent="-22860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01168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560320" indent="-182880" algn="l" rtl="0" eaLnBrk="1" latinLnBrk="0" hangingPunct="1">
        <a:spcBef>
          <a:spcPts val="340"/>
        </a:spcBef>
        <a:buClr>
          <a:schemeClr val="accent2">
            <a:shade val="75000"/>
          </a:schemeClr>
        </a:buClr>
        <a:buSzPct val="85000"/>
        <a:buFont typeface="Wingdings 2" pitchFamily="18" charset="2"/>
        <a:buChar char="?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cambiar el estilo de título	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ru-RU" smtClean="0"/>
              <a:t>Haga clic para modificar el estilo de texto del patrón</a:t>
            </a:r>
          </a:p>
          <a:p>
            <a:pPr lvl="1"/>
            <a:r>
              <a:rPr lang="es-ES" altLang="ru-RU" smtClean="0"/>
              <a:t>Segundo nivel</a:t>
            </a:r>
          </a:p>
          <a:p>
            <a:pPr lvl="2"/>
            <a:r>
              <a:rPr lang="es-ES" altLang="ru-RU" smtClean="0"/>
              <a:t>Tercer nivel</a:t>
            </a:r>
          </a:p>
          <a:p>
            <a:pPr lvl="3"/>
            <a:r>
              <a:rPr lang="es-ES" altLang="ru-RU" smtClean="0"/>
              <a:t>Cuarto nivel</a:t>
            </a:r>
          </a:p>
          <a:p>
            <a:pPr lvl="4"/>
            <a:r>
              <a:rPr lang="es-ES" altLang="ru-RU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E6B3FB2E-1CFF-4CF0-9D2C-9B5A18B60958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80146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7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15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chart" Target="../charts/chart17.xml"/><Relationship Id="rId7" Type="http://schemas.openxmlformats.org/officeDocument/2006/relationships/diagramQuickStyle" Target="../diagrams/quickStyle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10" Type="http://schemas.openxmlformats.org/officeDocument/2006/relationships/chart" Target="../charts/chart19.xml"/><Relationship Id="rId4" Type="http://schemas.openxmlformats.org/officeDocument/2006/relationships/chart" Target="../charts/chart18.xml"/><Relationship Id="rId9" Type="http://schemas.microsoft.com/office/2007/relationships/diagramDrawing" Target="../diagrams/drawing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9.jpeg"/><Relationship Id="rId4" Type="http://schemas.openxmlformats.org/officeDocument/2006/relationships/tags" Target="../tags/tag12.xml"/><Relationship Id="rId9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0.png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25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6.xml"/><Relationship Id="rId4" Type="http://schemas.openxmlformats.org/officeDocument/2006/relationships/chart" Target="../charts/chart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6.png"/><Relationship Id="rId4" Type="http://schemas.openxmlformats.org/officeDocument/2006/relationships/image" Target="../media/image14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6.png"/><Relationship Id="rId3" Type="http://schemas.openxmlformats.org/officeDocument/2006/relationships/tags" Target="../tags/tag30.xml"/><Relationship Id="rId7" Type="http://schemas.openxmlformats.org/officeDocument/2006/relationships/image" Target="../media/image15.png"/><Relationship Id="rId12" Type="http://schemas.openxmlformats.org/officeDocument/2006/relationships/image" Target="../media/image17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Layout" Target="../slideLayouts/slideLayout35.xml"/><Relationship Id="rId11" Type="http://schemas.openxmlformats.org/officeDocument/2006/relationships/chart" Target="../charts/chart29.xml"/><Relationship Id="rId5" Type="http://schemas.openxmlformats.org/officeDocument/2006/relationships/tags" Target="../tags/tag32.xml"/><Relationship Id="rId10" Type="http://schemas.openxmlformats.org/officeDocument/2006/relationships/chart" Target="../charts/chart28.xml"/><Relationship Id="rId4" Type="http://schemas.openxmlformats.org/officeDocument/2006/relationships/tags" Target="../tags/tag31.xml"/><Relationship Id="rId9" Type="http://schemas.microsoft.com/office/2007/relationships/hdphoto" Target="../media/hdphoto1.wdp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0.xml"/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chart" Target="../charts/chart32.xml"/><Relationship Id="rId5" Type="http://schemas.openxmlformats.org/officeDocument/2006/relationships/image" Target="../media/image6.png"/><Relationship Id="rId4" Type="http://schemas.openxmlformats.org/officeDocument/2006/relationships/chart" Target="../charts/char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/>
          <p:cNvCxnSpPr/>
          <p:nvPr/>
        </p:nvCxnSpPr>
        <p:spPr>
          <a:xfrm>
            <a:off x="149225" y="338860"/>
            <a:ext cx="864235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8893175" y="476250"/>
            <a:ext cx="0" cy="23764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50825" y="3357563"/>
            <a:ext cx="180022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89369" y="1664494"/>
            <a:ext cx="8640960" cy="2952750"/>
          </a:xfrm>
          <a:extLst/>
        </p:spPr>
        <p:txBody>
          <a:bodyPr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>
              <a:defRPr/>
            </a:pPr>
            <a: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БЮДЖЕТ </a:t>
            </a:r>
            <a:b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</a:br>
            <a: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города-курорта </a:t>
            </a:r>
            <a:r>
              <a:rPr lang="ru-RU" sz="4800" b="1" dirty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Пятигорска на </a:t>
            </a:r>
            <a: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2020 год и плановый период 2021-2022 </a:t>
            </a:r>
            <a: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годов </a:t>
            </a:r>
            <a:b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</a:br>
            <a: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/>
            </a:r>
            <a:br>
              <a:rPr lang="ru-RU" sz="48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</a:br>
            <a:r>
              <a:rPr lang="ru-RU" sz="25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решение </a:t>
            </a:r>
            <a:r>
              <a:rPr lang="ru-RU" sz="2500" b="1" dirty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Думы города Пятигорска от 24 декабря 2019г. №34-42 РД «О бюджете города-курорта Пятигорска на 2020 год и плановый период 2021 и 2022 годов</a:t>
            </a:r>
            <a:r>
              <a:rPr lang="ru-RU" sz="2500" b="1" dirty="0" smtClean="0">
                <a:ln w="11430"/>
                <a:solidFill>
                  <a:srgbClr val="333399"/>
                </a:solidFill>
                <a:effectLst>
                  <a:glow rad="1905000">
                    <a:schemeClr val="accent5">
                      <a:satMod val="175000"/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n-lt"/>
                <a:cs typeface="Times New Roman" pitchFamily="18" charset="0"/>
              </a:rPr>
              <a:t>»</a:t>
            </a:r>
            <a:endParaRPr lang="en-US" sz="2500" b="1" dirty="0">
              <a:ln w="11430"/>
              <a:solidFill>
                <a:srgbClr val="333399"/>
              </a:solidFill>
              <a:effectLst>
                <a:glow rad="1905000">
                  <a:schemeClr val="accent5">
                    <a:satMod val="175000"/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+mn-lt"/>
              <a:cs typeface="Times New Roman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V="1">
            <a:off x="389369" y="942975"/>
            <a:ext cx="0" cy="28813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343024" y="266700"/>
            <a:ext cx="7800975" cy="857250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  <a:cs typeface="Arial" pitchFamily="34" charset="0"/>
              </a:rPr>
              <a:t>Структура и динамика поступлений неналоговых доходов</a:t>
            </a:r>
          </a:p>
        </p:txBody>
      </p:sp>
      <p:graphicFrame>
        <p:nvGraphicFramePr>
          <p:cNvPr id="8" name="Диаграмма 7"/>
          <p:cNvGraphicFramePr/>
          <p:nvPr/>
        </p:nvGraphicFramePr>
        <p:xfrm>
          <a:off x="2943225" y="1600199"/>
          <a:ext cx="4314825" cy="1028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иаграмма 8"/>
          <p:cNvGraphicFramePr/>
          <p:nvPr/>
        </p:nvGraphicFramePr>
        <p:xfrm>
          <a:off x="-171451" y="2419350"/>
          <a:ext cx="3943351" cy="4438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0" y="2019300"/>
            <a:ext cx="3086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Структура неналоговых доходов в 2020 году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47750" y="4229100"/>
            <a:ext cx="1066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Arial"/>
                <a:cs typeface="+mn-cs"/>
              </a:rPr>
              <a:t>177</a:t>
            </a:r>
            <a:endParaRPr lang="ru-RU" sz="40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2971800" y="2019300"/>
          <a:ext cx="6334125" cy="4276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2990849" y="6183630"/>
          <a:ext cx="4229100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9519"/>
                <a:gridCol w="962121"/>
                <a:gridCol w="845820"/>
                <a:gridCol w="845820"/>
                <a:gridCol w="845820"/>
              </a:tblGrid>
              <a:tr h="400050">
                <a:tc>
                  <a:txBody>
                    <a:bodyPr/>
                    <a:lstStyle/>
                    <a:p>
                      <a:pPr algn="ctr"/>
                      <a:r>
                        <a:rPr lang="ru-RU" sz="135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18</a:t>
                      </a:r>
                      <a:endParaRPr lang="ru-RU" sz="135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5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Оценка 2019</a:t>
                      </a:r>
                      <a:endParaRPr lang="ru-RU" sz="135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5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План 2020</a:t>
                      </a:r>
                      <a:endParaRPr lang="ru-RU" sz="135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5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Прогноз 2021</a:t>
                      </a:r>
                      <a:endParaRPr lang="ru-RU" sz="135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50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Прогноз 2022</a:t>
                      </a:r>
                      <a:endParaRPr lang="ru-RU" sz="1350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14" name="Прямоугольник 13"/>
          <p:cNvSpPr>
            <a:spLocks noChangeArrowheads="1"/>
          </p:cNvSpPr>
          <p:nvPr/>
        </p:nvSpPr>
        <p:spPr bwMode="auto">
          <a:xfrm>
            <a:off x="7871637" y="9741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4825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/>
          <p:cNvGraphicFramePr/>
          <p:nvPr/>
        </p:nvGraphicFramePr>
        <p:xfrm>
          <a:off x="5329237" y="790575"/>
          <a:ext cx="3986213" cy="4772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2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Заголовок 2"/>
          <p:cNvSpPr>
            <a:spLocks noGrp="1"/>
          </p:cNvSpPr>
          <p:nvPr>
            <p:ph type="title"/>
          </p:nvPr>
        </p:nvSpPr>
        <p:spPr>
          <a:xfrm>
            <a:off x="914400" y="314325"/>
            <a:ext cx="8229600" cy="781050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труктура и динамика безвозмездных поступления</a:t>
            </a:r>
            <a:endParaRPr lang="ru-RU" sz="2800" b="1" dirty="0"/>
          </a:p>
        </p:txBody>
      </p:sp>
      <p:graphicFrame>
        <p:nvGraphicFramePr>
          <p:cNvPr id="18" name="Диаграмма 17"/>
          <p:cNvGraphicFramePr/>
          <p:nvPr/>
        </p:nvGraphicFramePr>
        <p:xfrm>
          <a:off x="-123825" y="1952626"/>
          <a:ext cx="4895850" cy="137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057900" y="4895850"/>
            <a:ext cx="30861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Структура безвозмездных поступлений в 2020 году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43700" y="2790825"/>
            <a:ext cx="13525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Arial"/>
                <a:cs typeface="+mn-cs"/>
              </a:rPr>
              <a:t>2721</a:t>
            </a:r>
            <a:endParaRPr lang="ru-RU" sz="40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7871637" y="95510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1" name="Диаграмма 10"/>
          <p:cNvGraphicFramePr/>
          <p:nvPr/>
        </p:nvGraphicFramePr>
        <p:xfrm>
          <a:off x="-133349" y="2647950"/>
          <a:ext cx="5915024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8777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8124825" y="1283643"/>
            <a:ext cx="10191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102826"/>
              </p:ext>
            </p:extLst>
          </p:nvPr>
        </p:nvGraphicFramePr>
        <p:xfrm>
          <a:off x="1" y="1361513"/>
          <a:ext cx="9144001" cy="5496486"/>
        </p:xfrm>
        <a:graphic>
          <a:graphicData uri="http://schemas.openxmlformats.org/drawingml/2006/table">
            <a:tbl>
              <a:tblPr firstRow="1" bandRow="1"/>
              <a:tblGrid>
                <a:gridCol w="4105274"/>
                <a:gridCol w="1828800"/>
                <a:gridCol w="1590675"/>
                <a:gridCol w="1619252"/>
              </a:tblGrid>
              <a:tr h="1263479">
                <a:tc rowSpan="2"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Наименование показателя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2020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2021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b="1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ru-RU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  <a:p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</a:tr>
              <a:tr h="505392">
                <a:tc v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</a:t>
                      </a:r>
                      <a:endParaRPr lang="ru-RU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овый период</a:t>
                      </a:r>
                      <a:endParaRPr lang="ru-RU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11031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l"/>
                      <a:r>
                        <a:rPr lang="ru-RU" sz="2000" b="1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ХОДЫ</a:t>
                      </a:r>
                      <a:endParaRPr lang="ru-RU" sz="2000" b="1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2000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07</a:t>
                      </a:r>
                      <a:endParaRPr lang="ru-RU" sz="2000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2000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21</a:t>
                      </a:r>
                      <a:endParaRPr lang="ru-RU" sz="2000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59</a:t>
                      </a:r>
                      <a:endParaRPr lang="ru-RU" sz="2000" b="1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  <a:tr h="505392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овые и неналоговые доходы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86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36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39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</a:tr>
              <a:tr h="505392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возмездные поступления</a:t>
                      </a:r>
                      <a:endParaRPr lang="ru-RU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21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b="0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85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20</a:t>
                      </a:r>
                      <a:endParaRPr lang="ru-RU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  <a:tr h="547508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algn="l" rtl="0" eaLnBrk="1" latinLnBrk="0" hangingPunct="1"/>
                      <a:r>
                        <a:rPr kumimoji="0" lang="ru-RU" sz="2000" b="1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ХОДЫ</a:t>
                      </a:r>
                      <a:endParaRPr kumimoji="0" lang="ru-RU" sz="2000" b="1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algn="ctr" rtl="0" eaLnBrk="1" latinLnBrk="0" hangingPunct="1"/>
                      <a:r>
                        <a:rPr kumimoji="0" lang="ru-RU" sz="2000" b="1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81</a:t>
                      </a:r>
                      <a:endParaRPr kumimoji="0" lang="ru-RU" sz="2000" b="1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algn="ctr" rtl="0" eaLnBrk="1" latinLnBrk="0" hangingPunct="1"/>
                      <a:r>
                        <a:rPr kumimoji="0" lang="ru-RU" sz="2000" b="1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66</a:t>
                      </a:r>
                      <a:endParaRPr kumimoji="0" lang="ru-RU" sz="2000" b="1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sz="2000" b="1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04</a:t>
                      </a:r>
                      <a:endParaRPr kumimoji="0" lang="ru-RU" sz="2000" b="1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</a:tr>
              <a:tr h="505392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ущие расходы</a:t>
                      </a:r>
                      <a:endParaRPr lang="ru-RU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66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33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73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  <a:tr h="505392">
                <a:tc>
                  <a:txBody>
                    <a:bodyPr/>
                    <a:lstStyle/>
                    <a:p>
                      <a:r>
                        <a:rPr lang="ru-RU" i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расходы</a:t>
                      </a:r>
                      <a:endParaRPr lang="ru-RU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5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b="0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1</a:t>
                      </a:r>
                      <a:endParaRPr kumimoji="0" lang="ru-RU" b="0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547508">
                <a:tc>
                  <a:txBody>
                    <a:bodyPr/>
                    <a:lstStyle/>
                    <a:p>
                      <a:pPr marL="0" algn="l" rtl="0" eaLnBrk="1" latinLnBrk="0" hangingPunct="1"/>
                      <a:r>
                        <a:rPr kumimoji="0" lang="ru-RU" sz="2000" b="1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ФИЦИТ</a:t>
                      </a:r>
                      <a:endParaRPr kumimoji="0" lang="ru-RU" sz="2000" b="1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sz="2000" b="1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574</a:t>
                      </a:r>
                      <a:endParaRPr kumimoji="0" lang="ru-RU" sz="2000" b="1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sz="2000" b="1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145</a:t>
                      </a:r>
                      <a:endParaRPr kumimoji="0" lang="ru-RU" sz="2000" b="1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kumimoji="0" lang="ru-RU" sz="2000" b="1" i="0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145</a:t>
                      </a:r>
                      <a:endParaRPr kumimoji="0" lang="ru-RU" sz="2000" b="1" i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EDEF">
                        <a:lumMod val="9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0" name="Заголовок 2"/>
          <p:cNvSpPr>
            <a:spLocks noGrp="1"/>
          </p:cNvSpPr>
          <p:nvPr>
            <p:ph type="title"/>
          </p:nvPr>
        </p:nvSpPr>
        <p:spPr>
          <a:xfrm>
            <a:off x="914400" y="381000"/>
            <a:ext cx="8229600" cy="628650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Основные параметры проекта бюджета</a:t>
            </a:r>
            <a:endParaRPr lang="ru-RU" sz="2800" b="1" dirty="0"/>
          </a:p>
        </p:txBody>
      </p:sp>
      <p:pic>
        <p:nvPicPr>
          <p:cNvPr id="12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>
            <a:spLocks noChangeArrowheads="1"/>
          </p:cNvSpPr>
          <p:nvPr/>
        </p:nvSpPr>
        <p:spPr bwMode="auto">
          <a:xfrm>
            <a:off x="7871637" y="9741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5865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0" y="2874318"/>
            <a:ext cx="10191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Заголовок 2"/>
          <p:cNvSpPr>
            <a:spLocks noGrp="1"/>
          </p:cNvSpPr>
          <p:nvPr>
            <p:ph type="title"/>
          </p:nvPr>
        </p:nvSpPr>
        <p:spPr>
          <a:xfrm>
            <a:off x="914400" y="228599"/>
            <a:ext cx="8229600" cy="866775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Динамика и программная структура расходов бюджета</a:t>
            </a:r>
            <a:endParaRPr lang="ru-RU" sz="2800" b="1" dirty="0"/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3592664917"/>
              </p:ext>
            </p:extLst>
          </p:nvPr>
        </p:nvGraphicFramePr>
        <p:xfrm>
          <a:off x="0" y="2466975"/>
          <a:ext cx="9144000" cy="4391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Диаграмма 9"/>
          <p:cNvGraphicFramePr/>
          <p:nvPr/>
        </p:nvGraphicFramePr>
        <p:xfrm>
          <a:off x="4505325" y="1304926"/>
          <a:ext cx="4638675" cy="5553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"/>
          <p:cNvSpPr txBox="1"/>
          <p:nvPr/>
        </p:nvSpPr>
        <p:spPr>
          <a:xfrm>
            <a:off x="4751136" y="3108196"/>
            <a:ext cx="2384928" cy="1479807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ограммные расходы</a:t>
            </a: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18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4 программ – 99,2%</a:t>
            </a:r>
            <a:endParaRPr lang="ru-RU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658100" y="3115360"/>
            <a:ext cx="17240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беспечение деятельности Думы города Пятигорск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7562851" y="4315510"/>
            <a:ext cx="158114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/>
            <a:r>
              <a:rPr lang="ru-RU" sz="1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отдельные  гос.полномочия переданные администраци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8191254" y="3911084"/>
            <a:ext cx="7681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0,8%</a:t>
            </a:r>
            <a:endParaRPr lang="ru-RU" sz="2000" dirty="0"/>
          </a:p>
        </p:txBody>
      </p:sp>
      <p:pic>
        <p:nvPicPr>
          <p:cNvPr id="12" name="Picture 11" descr="5go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>
            <a:spLocks noChangeArrowheads="1"/>
          </p:cNvSpPr>
          <p:nvPr/>
        </p:nvSpPr>
        <p:spPr bwMode="auto">
          <a:xfrm>
            <a:off x="7871637" y="9741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9" name="Диаграмма 18"/>
          <p:cNvGraphicFramePr/>
          <p:nvPr/>
        </p:nvGraphicFramePr>
        <p:xfrm>
          <a:off x="0" y="1343025"/>
          <a:ext cx="9144000" cy="1152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5865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381252" y="1924049"/>
          <a:ext cx="6648448" cy="4752975"/>
        </p:xfrm>
        <a:graphic>
          <a:graphicData uri="http://schemas.openxmlformats.org/drawingml/2006/table">
            <a:tbl>
              <a:tblPr/>
              <a:tblGrid>
                <a:gridCol w="1372946"/>
                <a:gridCol w="1194276"/>
                <a:gridCol w="1711482"/>
                <a:gridCol w="1850077"/>
                <a:gridCol w="519667"/>
              </a:tblGrid>
              <a:tr h="989340">
                <a:tc rowSpan="3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Образование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Современная школа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конструкция с элементами реставрации здания МОУ Гимназия №11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1,7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43986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Демография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Финансовая поддержка семей при рождении детей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жемесячные денежные выплаты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84,9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040970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Спорт норма жизни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конструкция спортивной школы олимпийского резерва №2 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0,3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43986">
                <a:tc rowSpan="2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Жилье и городская среда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"Формирование комфортной городской среды"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лагоустройство парка  Емануэлевский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3,8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1234693"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907" marR="5907" marT="5907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беспечение устойчивого сокращения непригодного для проживания жилищного фонда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троительство жилья для переселения из ветхого</a:t>
                      </a:r>
                      <a:r>
                        <a:rPr lang="ru-RU" sz="1200" b="1" kern="1200" baseline="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и аварийного жилья</a:t>
                      </a: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 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2,3</a:t>
                      </a:r>
                    </a:p>
                  </a:txBody>
                  <a:tcPr marL="5907" marR="5907" marT="59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914400" y="381000"/>
            <a:ext cx="8229600" cy="628650"/>
          </a:xfrm>
        </p:spPr>
        <p:txBody>
          <a:bodyPr>
            <a:noAutofit/>
          </a:bodyPr>
          <a:lstStyle/>
          <a:p>
            <a:pPr marL="446088" lvl="0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Национальные проекты в 2020 году</a:t>
            </a:r>
            <a:endParaRPr lang="ru-RU" sz="28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3571875" y="1419225"/>
            <a:ext cx="13620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Национальные проекты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162550" y="1409700"/>
            <a:ext cx="14287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Региональные проект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829425" y="1466850"/>
            <a:ext cx="1428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ероприяти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162925" y="1428750"/>
            <a:ext cx="9810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2020 г. млн. руб.</a:t>
            </a:r>
          </a:p>
        </p:txBody>
      </p:sp>
      <p:sp>
        <p:nvSpPr>
          <p:cNvPr id="12" name="Блок-схема: процесс 11"/>
          <p:cNvSpPr/>
          <p:nvPr/>
        </p:nvSpPr>
        <p:spPr>
          <a:xfrm>
            <a:off x="2543175" y="3171825"/>
            <a:ext cx="1095375" cy="523875"/>
          </a:xfrm>
          <a:prstGeom prst="flowChartProcess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Arial" pitchFamily="34" charset="0"/>
                <a:cs typeface="Arial" pitchFamily="34" charset="0"/>
              </a:rPr>
              <a:t>296,9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Блок-схема: процесс 12"/>
          <p:cNvSpPr/>
          <p:nvPr/>
        </p:nvSpPr>
        <p:spPr>
          <a:xfrm>
            <a:off x="2514600" y="5857875"/>
            <a:ext cx="1095375" cy="523875"/>
          </a:xfrm>
          <a:prstGeom prst="flowChartProcess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Arial" pitchFamily="34" charset="0"/>
                <a:cs typeface="Arial" pitchFamily="34" charset="0"/>
              </a:rPr>
              <a:t>136,1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24099" y="2533650"/>
            <a:ext cx="1438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Человеческий капитал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333626" y="5076825"/>
            <a:ext cx="13811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Комфортная среда для жизни</a:t>
            </a:r>
          </a:p>
        </p:txBody>
      </p:sp>
      <p:graphicFrame>
        <p:nvGraphicFramePr>
          <p:cNvPr id="16" name="Диаграмма 15"/>
          <p:cNvGraphicFramePr/>
          <p:nvPr/>
        </p:nvGraphicFramePr>
        <p:xfrm>
          <a:off x="-923925" y="2628899"/>
          <a:ext cx="4181476" cy="254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666750" y="3543300"/>
            <a:ext cx="11239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433</a:t>
            </a:r>
            <a:endParaRPr lang="ru-RU" sz="4000" b="1" dirty="0">
              <a:solidFill>
                <a:schemeClr val="tx2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9" name="Соединительная линия уступом 18"/>
          <p:cNvCxnSpPr/>
          <p:nvPr/>
        </p:nvCxnSpPr>
        <p:spPr>
          <a:xfrm flipV="1">
            <a:off x="1000125" y="2423785"/>
            <a:ext cx="1400174" cy="443240"/>
          </a:xfrm>
          <a:prstGeom prst="bentConnector3">
            <a:avLst>
              <a:gd name="adj1" fmla="val -340"/>
            </a:avLst>
          </a:prstGeom>
          <a:ln w="69850">
            <a:solidFill>
              <a:schemeClr val="tx2">
                <a:lumMod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Соединительная линия уступом 29"/>
          <p:cNvCxnSpPr/>
          <p:nvPr/>
        </p:nvCxnSpPr>
        <p:spPr>
          <a:xfrm rot="16200000" flipH="1">
            <a:off x="2014537" y="5710237"/>
            <a:ext cx="552450" cy="12382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Соединительная линия уступом 33"/>
          <p:cNvCxnSpPr/>
          <p:nvPr/>
        </p:nvCxnSpPr>
        <p:spPr>
          <a:xfrm rot="16200000" flipH="1">
            <a:off x="1766890" y="4652965"/>
            <a:ext cx="1000122" cy="228598"/>
          </a:xfrm>
          <a:prstGeom prst="bentConnector3">
            <a:avLst>
              <a:gd name="adj1" fmla="val 97620"/>
            </a:avLst>
          </a:prstGeom>
          <a:ln w="57150">
            <a:solidFill>
              <a:schemeClr val="tx2">
                <a:lumMod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Скругленный прямоугольник 41"/>
          <p:cNvSpPr/>
          <p:nvPr/>
        </p:nvSpPr>
        <p:spPr>
          <a:xfrm>
            <a:off x="38100" y="5400675"/>
            <a:ext cx="1095375" cy="5334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428,4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8100" y="6143625"/>
            <a:ext cx="1085850" cy="50482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4,8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028701" y="5410200"/>
            <a:ext cx="1514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</a:t>
            </a:r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ежбюджетные трансферты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209675" y="6087844"/>
            <a:ext cx="1200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tx2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естный бюджет</a:t>
            </a:r>
          </a:p>
        </p:txBody>
      </p:sp>
      <p:sp>
        <p:nvSpPr>
          <p:cNvPr id="22" name="Прямоугольник 21"/>
          <p:cNvSpPr>
            <a:spLocks noChangeArrowheads="1"/>
          </p:cNvSpPr>
          <p:nvPr/>
        </p:nvSpPr>
        <p:spPr bwMode="auto">
          <a:xfrm>
            <a:off x="7871637" y="9741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182255" y="167410"/>
            <a:ext cx="7685520" cy="1143000"/>
          </a:xfrm>
        </p:spPr>
        <p:txBody>
          <a:bodyPr>
            <a:noAutofit/>
          </a:bodyPr>
          <a:lstStyle/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Муниципальные публичные обязательства города </a:t>
            </a:r>
            <a:r>
              <a:rPr 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ятигорска в 2020 году</a:t>
            </a:r>
            <a:endParaRPr lang="ru-RU" sz="2800" b="1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562911"/>
              </p:ext>
            </p:extLst>
          </p:nvPr>
        </p:nvGraphicFramePr>
        <p:xfrm>
          <a:off x="1" y="1390651"/>
          <a:ext cx="9144000" cy="54673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00573"/>
                <a:gridCol w="1181100"/>
                <a:gridCol w="1095375"/>
                <a:gridCol w="1133475"/>
                <a:gridCol w="1133477"/>
              </a:tblGrid>
              <a:tr h="462537"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Наименование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002060"/>
                          </a:solidFill>
                        </a:rPr>
                        <a:t>Контингент получателей</a:t>
                      </a:r>
                      <a:endParaRPr lang="ru-RU" sz="12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Сумма (тыс. руб.)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7964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2020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2021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2022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829437">
                <a:tc>
                  <a:txBody>
                    <a:bodyPr/>
                    <a:lstStyle/>
                    <a:p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жемесячная денежная выплата  отдельным категориям  пенсионеров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accent4"/>
                          </a:solidFill>
                          <a:latin typeface="+mn-lt"/>
                        </a:rPr>
                        <a:t>2637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49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7333,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5173,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1065330">
                <a:tc>
                  <a:txBody>
                    <a:bodyPr/>
                    <a:lstStyle/>
                    <a:p>
                      <a:r>
                        <a:rPr lang="ru-RU" sz="2000" i="0" dirty="0" smtClean="0">
                          <a:latin typeface="+mn-lt"/>
                        </a:rPr>
                        <a:t>Ежемесячная денежная выплата  заслуженным работникам народного хозяйства РФ, РСФСР (СССР)</a:t>
                      </a:r>
                      <a:endParaRPr lang="ru-RU" sz="2000" i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accent4"/>
                          </a:solidFill>
                          <a:latin typeface="+mn-lt"/>
                        </a:rPr>
                        <a:t>2</a:t>
                      </a:r>
                      <a:endParaRPr lang="ru-RU" sz="2000" i="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,6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,6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,6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</a:tr>
              <a:tr h="863415">
                <a:tc>
                  <a:txBody>
                    <a:bodyPr/>
                    <a:lstStyle/>
                    <a:p>
                      <a:r>
                        <a:rPr lang="ru-RU" sz="2000" i="0" dirty="0" smtClean="0">
                          <a:latin typeface="+mn-lt"/>
                        </a:rPr>
                        <a:t>Ежемесячная денежная выплата участникам боев за город Пятигорск</a:t>
                      </a:r>
                      <a:endParaRPr lang="ru-RU" sz="2000" i="0" dirty="0">
                        <a:latin typeface="+mn-lt"/>
                      </a:endParaRP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accent4"/>
                          </a:solidFill>
                          <a:latin typeface="+mn-lt"/>
                        </a:rPr>
                        <a:t>6</a:t>
                      </a:r>
                      <a:endParaRPr lang="ru-RU" sz="2000" i="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44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44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44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742503">
                <a:tc>
                  <a:txBody>
                    <a:bodyPr/>
                    <a:lstStyle/>
                    <a:p>
                      <a:r>
                        <a:rPr lang="ru-RU" sz="2000" i="0" dirty="0" smtClean="0">
                          <a:latin typeface="+mn-lt"/>
                        </a:rPr>
                        <a:t>Единовременная денежная выплата ко Дню Победы</a:t>
                      </a:r>
                      <a:endParaRPr lang="ru-RU" sz="2000" i="0" dirty="0">
                        <a:latin typeface="+mn-lt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accent4"/>
                          </a:solidFill>
                          <a:latin typeface="+mn-lt"/>
                        </a:rPr>
                        <a:t>150</a:t>
                      </a:r>
                      <a:endParaRPr lang="ru-RU" sz="2000" i="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300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200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00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</a:tr>
              <a:tr h="707637">
                <a:tc>
                  <a:txBody>
                    <a:bodyPr/>
                    <a:lstStyle/>
                    <a:p>
                      <a:r>
                        <a:rPr lang="ru-RU" sz="2000" i="0" dirty="0" smtClean="0">
                          <a:latin typeface="+mn-lt"/>
                        </a:rPr>
                        <a:t>ВСЕГО</a:t>
                      </a:r>
                      <a:endParaRPr lang="ru-RU" sz="2000" i="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000" i="0" dirty="0">
                        <a:solidFill>
                          <a:schemeClr val="accent4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9946,6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7686,8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5426,8</a:t>
                      </a:r>
                      <a:endParaRPr lang="ru-RU" sz="2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553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123950" y="250085"/>
            <a:ext cx="7858125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6088" indent="-446088" algn="ctr">
              <a:lnSpc>
                <a:spcPct val="80000"/>
              </a:lnSpc>
              <a:defRPr/>
            </a:pPr>
            <a:r>
              <a:rPr lang="ru-RU" alt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ea typeface="+mj-ea"/>
                <a:cs typeface="+mj-cs"/>
              </a:rPr>
              <a:t>Повышение оплаты труда работников муниципальных учреждений </a:t>
            </a: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3738109612"/>
              </p:ext>
            </p:extLst>
          </p:nvPr>
        </p:nvGraphicFramePr>
        <p:xfrm>
          <a:off x="3600450" y="3657600"/>
          <a:ext cx="5543550" cy="1303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3738109612"/>
              </p:ext>
            </p:extLst>
          </p:nvPr>
        </p:nvGraphicFramePr>
        <p:xfrm>
          <a:off x="3609975" y="2105025"/>
          <a:ext cx="5324475" cy="150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857750" y="3524250"/>
            <a:ext cx="3095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МРОТ, руб.</a:t>
            </a:r>
          </a:p>
        </p:txBody>
      </p:sp>
      <p:graphicFrame>
        <p:nvGraphicFramePr>
          <p:cNvPr id="22" name="Схема 21"/>
          <p:cNvGraphicFramePr/>
          <p:nvPr/>
        </p:nvGraphicFramePr>
        <p:xfrm>
          <a:off x="2686051" y="4768850"/>
          <a:ext cx="6457950" cy="23653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3467100" y="5791200"/>
            <a:ext cx="1419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с 01.10.2020 г.</a:t>
            </a:r>
            <a:endParaRPr lang="ru-RU" sz="1400" dirty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629275" y="5819775"/>
            <a:ext cx="1419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с 01.10.2021 г.</a:t>
            </a:r>
            <a:endParaRPr lang="ru-RU" sz="1400" dirty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724775" y="5791200"/>
            <a:ext cx="1419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с 01.10.2022 г.</a:t>
            </a:r>
            <a:endParaRPr lang="ru-RU" sz="1400" dirty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105400" y="4933950"/>
            <a:ext cx="3095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Прочий персонал</a:t>
            </a:r>
            <a:endParaRPr lang="ru-RU" dirty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33875" y="1552576"/>
            <a:ext cx="48101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5">
                    <a:lumMod val="10000"/>
                  </a:schemeClr>
                </a:solidFill>
                <a:latin typeface="Arial" pitchFamily="34" charset="0"/>
                <a:cs typeface="Arial" pitchFamily="34" charset="0"/>
              </a:rPr>
              <a:t>Среднемесячный доход от трудовой деятельности целевых категорий (руб.)</a:t>
            </a:r>
            <a:endParaRPr lang="ru-RU" dirty="0">
              <a:solidFill>
                <a:schemeClr val="accent5">
                  <a:lumMod val="1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4087636106"/>
              </p:ext>
            </p:extLst>
          </p:nvPr>
        </p:nvGraphicFramePr>
        <p:xfrm>
          <a:off x="0" y="2066926"/>
          <a:ext cx="3800475" cy="3864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0" y="3670526"/>
            <a:ext cx="1760160" cy="57606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13,8</a:t>
            </a:r>
            <a:endParaRPr lang="ru-RU" sz="2000" b="1" dirty="0">
              <a:solidFill>
                <a:schemeClr val="bg1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889453" y="3230122"/>
            <a:ext cx="1760160" cy="57606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21,2</a:t>
            </a:r>
            <a:endParaRPr lang="ru-RU" sz="2000" b="1" dirty="0">
              <a:solidFill>
                <a:schemeClr val="bg1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31502" y="2853016"/>
            <a:ext cx="1760160" cy="57606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defRPr sz="12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3,01</a:t>
            </a:r>
            <a:endParaRPr lang="ru-RU" sz="2000" b="1" dirty="0">
              <a:solidFill>
                <a:schemeClr val="bg1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grpSp>
        <p:nvGrpSpPr>
          <p:cNvPr id="18" name="Группа 41"/>
          <p:cNvGrpSpPr/>
          <p:nvPr/>
        </p:nvGrpSpPr>
        <p:grpSpPr>
          <a:xfrm>
            <a:off x="704852" y="4629150"/>
            <a:ext cx="2804168" cy="1301080"/>
            <a:chOff x="4714082" y="4501364"/>
            <a:chExt cx="1167405" cy="928694"/>
          </a:xfrm>
        </p:grpSpPr>
        <p:cxnSp>
          <p:nvCxnSpPr>
            <p:cNvPr id="19" name="Прямая соединительная линия 18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Группа 44"/>
          <p:cNvGrpSpPr/>
          <p:nvPr/>
        </p:nvGrpSpPr>
        <p:grpSpPr>
          <a:xfrm rot="5400000">
            <a:off x="2145518" y="1440256"/>
            <a:ext cx="361950" cy="2701143"/>
            <a:chOff x="4714082" y="4501364"/>
            <a:chExt cx="1167405" cy="928694"/>
          </a:xfrm>
        </p:grpSpPr>
        <p:cxnSp>
          <p:nvCxnSpPr>
            <p:cNvPr id="27" name="Прямая соединительная линия 26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единительная линия 27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Группа 47"/>
          <p:cNvGrpSpPr/>
          <p:nvPr/>
        </p:nvGrpSpPr>
        <p:grpSpPr>
          <a:xfrm>
            <a:off x="3048000" y="4453811"/>
            <a:ext cx="861070" cy="146764"/>
            <a:chOff x="4714082" y="4501364"/>
            <a:chExt cx="1167405" cy="928694"/>
          </a:xfrm>
        </p:grpSpPr>
        <p:cxnSp>
          <p:nvCxnSpPr>
            <p:cNvPr id="30" name="Прямая соединительная линия 29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Прямоугольник 31"/>
          <p:cNvSpPr/>
          <p:nvPr/>
        </p:nvSpPr>
        <p:spPr>
          <a:xfrm>
            <a:off x="0" y="1729961"/>
            <a:ext cx="4572000" cy="7571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овышение оплаты труда работников муниципальных учреждений</a:t>
            </a:r>
          </a:p>
          <a:p>
            <a:pPr algn="ctr" eaLnBrk="0" hangingPunct="0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в 2020 году </a:t>
            </a:r>
            <a:r>
              <a:rPr lang="ru-R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 млн. руб.)</a:t>
            </a:r>
            <a:endParaRPr lang="ru-R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Graphic spid="9" grpId="0">
        <p:bldAsOne/>
      </p:bldGraphic>
      <p:bldGraphic spid="14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1182255" y="199822"/>
            <a:ext cx="7961313" cy="1078173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сходы социального характера </a:t>
            </a: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в 2020 году</a:t>
            </a:r>
            <a:endParaRPr lang="ru-RU" sz="2800" b="1" dirty="0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53571467"/>
              </p:ext>
            </p:extLst>
          </p:nvPr>
        </p:nvGraphicFramePr>
        <p:xfrm>
          <a:off x="-209551" y="1476375"/>
          <a:ext cx="4429126" cy="515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Штриховая стрелка вправо 6"/>
          <p:cNvSpPr/>
          <p:nvPr/>
        </p:nvSpPr>
        <p:spPr>
          <a:xfrm rot="16200000">
            <a:off x="1588462" y="1138386"/>
            <a:ext cx="1652974" cy="2332902"/>
          </a:xfrm>
          <a:prstGeom prst="stripedRightArrow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1643784" y="1864010"/>
            <a:ext cx="1504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18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+807</a:t>
            </a:r>
            <a:endParaRPr 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auto">
          <a:xfrm>
            <a:off x="1861450" y="3958869"/>
            <a:ext cx="1919974" cy="646986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wrap="square">
            <a:spAutoFit/>
          </a:bodyPr>
          <a:lstStyle/>
          <a:p>
            <a:pPr algn="ctr"/>
            <a:r>
              <a:rPr lang="ru-RU" alt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74%</a:t>
            </a:r>
            <a:endParaRPr lang="ru-RU" alt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1" name="AutoShape 6"/>
          <p:cNvSpPr>
            <a:spLocks noChangeArrowheads="1"/>
          </p:cNvSpPr>
          <p:nvPr/>
        </p:nvSpPr>
        <p:spPr bwMode="auto">
          <a:xfrm>
            <a:off x="1963233" y="3453969"/>
            <a:ext cx="1919974" cy="646986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  <a:effectLst/>
          <a:extLst/>
        </p:spPr>
        <p:txBody>
          <a:bodyPr wrap="square">
            <a:spAutoFit/>
          </a:bodyPr>
          <a:lstStyle/>
          <a:p>
            <a:pPr algn="ctr"/>
            <a:r>
              <a:rPr lang="ru-RU" altLang="ru-RU" sz="3200" b="1" dirty="0" smtClean="0">
                <a:solidFill>
                  <a:srgbClr val="002060"/>
                </a:solidFill>
                <a:latin typeface="+mn-lt"/>
                <a:cs typeface="+mn-cs"/>
              </a:rPr>
              <a:t>3742</a:t>
            </a:r>
            <a:endParaRPr lang="ru-RU" altLang="ru-RU" sz="3200" b="1" dirty="0">
              <a:solidFill>
                <a:srgbClr val="002060"/>
              </a:solidFill>
              <a:latin typeface="+mn-lt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981700" y="1554019"/>
            <a:ext cx="2457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 том числе:</a:t>
            </a:r>
            <a:endParaRPr lang="ru-RU" b="1" dirty="0">
              <a:solidFill>
                <a:srgbClr val="002060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7871637" y="1002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4" name="Диаграмма 13"/>
          <p:cNvGraphicFramePr/>
          <p:nvPr/>
        </p:nvGraphicFramePr>
        <p:xfrm>
          <a:off x="3781425" y="2057400"/>
          <a:ext cx="5362575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8884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Скругленный прямоугольник 109"/>
          <p:cNvSpPr/>
          <p:nvPr/>
        </p:nvSpPr>
        <p:spPr>
          <a:xfrm>
            <a:off x="0" y="2781300"/>
            <a:ext cx="3589194" cy="676274"/>
          </a:xfrm>
          <a:prstGeom prst="roundRect">
            <a:avLst>
              <a:gd name="adj" fmla="val 50000"/>
            </a:avLst>
          </a:prstGeom>
          <a:solidFill>
            <a:srgbClr val="FFFFCC">
              <a:alpha val="30980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lnSpc>
                <a:spcPts val="1800"/>
              </a:lnSpc>
              <a:defRPr/>
            </a:pP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4" name="AutoShape 2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4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6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" name="Группа 8"/>
          <p:cNvGrpSpPr/>
          <p:nvPr/>
        </p:nvGrpSpPr>
        <p:grpSpPr>
          <a:xfrm>
            <a:off x="4249045" y="490992"/>
            <a:ext cx="2685155" cy="6367008"/>
            <a:chOff x="5220072" y="-33295"/>
            <a:chExt cx="3984150" cy="6409709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5220072" y="3645024"/>
              <a:ext cx="3796013" cy="27313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Овал 10"/>
            <p:cNvSpPr/>
            <p:nvPr/>
          </p:nvSpPr>
          <p:spPr>
            <a:xfrm rot="371319">
              <a:off x="7444601" y="3889731"/>
              <a:ext cx="1759621" cy="60325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 rot="273913">
              <a:off x="7409397" y="4100456"/>
              <a:ext cx="1745731" cy="2478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00, 662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5233492" y="4795108"/>
              <a:ext cx="3696345" cy="57439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sz="3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7568465" y="4924274"/>
              <a:ext cx="1443699" cy="400048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51, 751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" name="Скругленный прямоугольник 14"/>
            <p:cNvSpPr/>
            <p:nvPr/>
          </p:nvSpPr>
          <p:spPr>
            <a:xfrm>
              <a:off x="5270739" y="5563712"/>
              <a:ext cx="3696345" cy="585440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" name="Скругленный прямоугольник 15"/>
            <p:cNvSpPr/>
            <p:nvPr/>
          </p:nvSpPr>
          <p:spPr>
            <a:xfrm>
              <a:off x="7749211" y="5641194"/>
              <a:ext cx="1445968" cy="39119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48, 911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358624" y="4996677"/>
              <a:ext cx="2729017" cy="3600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ru-RU" sz="1400" dirty="0" smtClean="0"/>
                <a:t>Гимназия</a:t>
              </a:r>
              <a:r>
                <a:rPr lang="ru-RU" sz="1600" dirty="0" smtClean="0"/>
                <a:t> 11</a:t>
              </a:r>
              <a:endParaRPr lang="ru-RU" sz="1600" dirty="0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5335025" y="5608291"/>
              <a:ext cx="2553756" cy="7051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ru-RU" sz="1400" dirty="0" smtClean="0"/>
                <a:t>Детский сад в станице Константиновская</a:t>
              </a:r>
              <a:endParaRPr lang="ru-RU" sz="1400" dirty="0"/>
            </a:p>
          </p:txBody>
        </p:sp>
        <p:sp>
          <p:nvSpPr>
            <p:cNvPr id="25" name="Стрелка вправо 24"/>
            <p:cNvSpPr/>
            <p:nvPr/>
          </p:nvSpPr>
          <p:spPr>
            <a:xfrm rot="16200000" flipH="1">
              <a:off x="5685887" y="1245832"/>
              <a:ext cx="3597461" cy="1039207"/>
            </a:xfrm>
            <a:prstGeom prst="rightArrow">
              <a:avLst/>
            </a:prstGeom>
            <a:gradFill>
              <a:gsLst>
                <a:gs pos="89000">
                  <a:srgbClr val="A6B9BE">
                    <a:alpha val="47000"/>
                  </a:srgbClr>
                </a:gs>
                <a:gs pos="0">
                  <a:schemeClr val="accent6">
                    <a:lumMod val="75000"/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tabLst>
                  <a:tab pos="542925" algn="l"/>
                </a:tabLst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</p:grpSp>
      <p:grpSp>
        <p:nvGrpSpPr>
          <p:cNvPr id="8" name="Группа 77"/>
          <p:cNvGrpSpPr/>
          <p:nvPr/>
        </p:nvGrpSpPr>
        <p:grpSpPr>
          <a:xfrm>
            <a:off x="0" y="1282953"/>
            <a:ext cx="4733822" cy="3298571"/>
            <a:chOff x="117857" y="1210916"/>
            <a:chExt cx="5161493" cy="2731390"/>
          </a:xfrm>
        </p:grpSpPr>
        <p:sp>
          <p:nvSpPr>
            <p:cNvPr id="79" name="Прямоугольник 78"/>
            <p:cNvSpPr/>
            <p:nvPr/>
          </p:nvSpPr>
          <p:spPr>
            <a:xfrm>
              <a:off x="117857" y="1210916"/>
              <a:ext cx="4050241" cy="27313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0" name="Прямоугольник 79"/>
            <p:cNvSpPr/>
            <p:nvPr/>
          </p:nvSpPr>
          <p:spPr>
            <a:xfrm>
              <a:off x="117857" y="1353657"/>
              <a:ext cx="2898221" cy="4268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>
                <a:lnSpc>
                  <a:spcPts val="1100"/>
                </a:lnSpc>
              </a:pPr>
              <a:r>
                <a:rPr lang="ru-RU" sz="1400" b="1" dirty="0"/>
                <a:t>Развитие системы </a:t>
              </a:r>
              <a:r>
                <a:rPr lang="ru-RU" sz="1400" b="1" dirty="0" smtClean="0"/>
                <a:t>образования                                                                                                        </a:t>
              </a:r>
              <a:r>
                <a:rPr lang="ru-RU" sz="1400" b="1" dirty="0"/>
                <a:t>ввод новой сети</a:t>
              </a:r>
              <a:endParaRPr lang="ru-R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81" name="Овал 80"/>
            <p:cNvSpPr/>
            <p:nvPr/>
          </p:nvSpPr>
          <p:spPr>
            <a:xfrm rot="371319">
              <a:off x="3121755" y="1221222"/>
              <a:ext cx="1056159" cy="473102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Прямоугольник 81"/>
            <p:cNvSpPr/>
            <p:nvPr/>
          </p:nvSpPr>
          <p:spPr>
            <a:xfrm rot="606738">
              <a:off x="2932333" y="1364813"/>
              <a:ext cx="1215106" cy="2038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3, 855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3" name="Скругленный прямоугольник 82"/>
            <p:cNvSpPr/>
            <p:nvPr/>
          </p:nvSpPr>
          <p:spPr>
            <a:xfrm>
              <a:off x="117857" y="1743597"/>
              <a:ext cx="3894571" cy="620034"/>
            </a:xfrm>
            <a:prstGeom prst="roundRect">
              <a:avLst>
                <a:gd name="adj" fmla="val 50000"/>
              </a:avLst>
            </a:prstGeom>
            <a:solidFill>
              <a:srgbClr val="FFFFCC">
                <a:alpha val="3098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84" name="Скругленный прямоугольник 83"/>
            <p:cNvSpPr/>
            <p:nvPr/>
          </p:nvSpPr>
          <p:spPr>
            <a:xfrm>
              <a:off x="3112703" y="1800565"/>
              <a:ext cx="1045122" cy="51057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7, 936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5" name="Прямоугольник 84"/>
            <p:cNvSpPr/>
            <p:nvPr/>
          </p:nvSpPr>
          <p:spPr>
            <a:xfrm>
              <a:off x="234091" y="1789100"/>
              <a:ext cx="2760556" cy="4587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b">
                <a:lnSpc>
                  <a:spcPts val="1200"/>
                </a:lnSpc>
              </a:pPr>
              <a:r>
                <a:rPr lang="ru-RU" sz="1200" dirty="0"/>
                <a:t>Открытие групп детского </a:t>
              </a:r>
              <a:r>
                <a:rPr lang="ru-RU" sz="1200" dirty="0" smtClean="0"/>
                <a:t>сада-  ясли </a:t>
              </a:r>
              <a:r>
                <a:rPr lang="ru-RU" sz="1200" dirty="0"/>
                <a:t>в ст. </a:t>
              </a:r>
              <a:r>
                <a:rPr lang="ru-RU" sz="1200" dirty="0" smtClean="0"/>
                <a:t>Константиновская                                     г. </a:t>
              </a:r>
              <a:r>
                <a:rPr lang="ru-RU" sz="1200" dirty="0"/>
                <a:t>Пятигорска  на </a:t>
              </a:r>
              <a:r>
                <a:rPr lang="ru-RU" sz="1100" dirty="0"/>
                <a:t>220</a:t>
              </a:r>
              <a:r>
                <a:rPr lang="ru-RU" sz="1200" dirty="0"/>
                <a:t> </a:t>
              </a:r>
              <a:r>
                <a:rPr lang="ru-RU" sz="1200" dirty="0" smtClean="0"/>
                <a:t>мест  </a:t>
              </a:r>
              <a:endParaRPr lang="ru-RU" sz="1200" dirty="0">
                <a:solidFill>
                  <a:srgbClr val="000000"/>
                </a:solidFill>
                <a:latin typeface="Times New Roman"/>
              </a:endParaRPr>
            </a:p>
          </p:txBody>
        </p:sp>
        <p:sp>
          <p:nvSpPr>
            <p:cNvPr id="88" name="Прямоугольник 87"/>
            <p:cNvSpPr/>
            <p:nvPr/>
          </p:nvSpPr>
          <p:spPr>
            <a:xfrm>
              <a:off x="394162" y="2475288"/>
              <a:ext cx="2683569" cy="4587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t">
                <a:lnSpc>
                  <a:spcPts val="1200"/>
                </a:lnSpc>
              </a:pPr>
              <a:r>
                <a:rPr lang="ru-RU" sz="1200" dirty="0"/>
                <a:t>Досчет на увеличение 258 мест в детских дошкольных образовательных </a:t>
              </a:r>
              <a:r>
                <a:rPr lang="ru-RU" sz="1200" dirty="0" smtClean="0"/>
                <a:t>учреждениях                                </a:t>
              </a:r>
              <a:endParaRPr lang="ru-RU" sz="1200" dirty="0"/>
            </a:p>
          </p:txBody>
        </p:sp>
        <p:sp>
          <p:nvSpPr>
            <p:cNvPr id="98" name="Стрелка вправо 97"/>
            <p:cNvSpPr/>
            <p:nvPr/>
          </p:nvSpPr>
          <p:spPr>
            <a:xfrm rot="10800000">
              <a:off x="3913870" y="1434112"/>
              <a:ext cx="1365480" cy="714380"/>
            </a:xfrm>
            <a:prstGeom prst="rightArrow">
              <a:avLst/>
            </a:prstGeom>
            <a:gradFill>
              <a:gsLst>
                <a:gs pos="89000">
                  <a:srgbClr val="A6B9BE">
                    <a:alpha val="47000"/>
                  </a:srgbClr>
                </a:gs>
                <a:gs pos="0">
                  <a:schemeClr val="accent6">
                    <a:lumMod val="75000"/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tabLst>
                  <a:tab pos="542925" algn="l"/>
                </a:tabLst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</p:grpSp>
      <p:sp>
        <p:nvSpPr>
          <p:cNvPr id="112" name="Скругленный прямоугольник 111"/>
          <p:cNvSpPr/>
          <p:nvPr/>
        </p:nvSpPr>
        <p:spPr>
          <a:xfrm>
            <a:off x="0" y="3555390"/>
            <a:ext cx="3448050" cy="749910"/>
          </a:xfrm>
          <a:prstGeom prst="roundRect">
            <a:avLst>
              <a:gd name="adj" fmla="val 50000"/>
            </a:avLst>
          </a:prstGeom>
          <a:solidFill>
            <a:srgbClr val="FFFFCC">
              <a:alpha val="30980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lnSpc>
                <a:spcPts val="1800"/>
              </a:lnSpc>
              <a:defRPr/>
            </a:pP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0" y="3686174"/>
            <a:ext cx="2657475" cy="7591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>
              <a:lnSpc>
                <a:spcPts val="1000"/>
              </a:lnSpc>
            </a:pPr>
            <a:r>
              <a:rPr lang="ru-RU" sz="1200" dirty="0"/>
              <a:t>Ввод </a:t>
            </a:r>
            <a:r>
              <a:rPr lang="ru-RU" sz="1200" dirty="0" smtClean="0"/>
              <a:t>центра  </a:t>
            </a:r>
            <a:r>
              <a:rPr lang="ru-RU" sz="1200" dirty="0"/>
              <a:t>по профилактике дорожно-транспортного травматизма на базе МБОУ СОШ № </a:t>
            </a:r>
            <a:r>
              <a:rPr lang="ru-RU" sz="1200" dirty="0" smtClean="0"/>
              <a:t>23</a:t>
            </a:r>
            <a:endParaRPr lang="ru-RU" sz="1200" dirty="0"/>
          </a:p>
          <a:p>
            <a:pPr algn="ctr" fontAlgn="t">
              <a:lnSpc>
                <a:spcPts val="1200"/>
              </a:lnSpc>
            </a:pPr>
            <a:endParaRPr lang="ru-RU" sz="1200" dirty="0"/>
          </a:p>
        </p:txBody>
      </p:sp>
      <p:sp>
        <p:nvSpPr>
          <p:cNvPr id="91" name="Прямоугольник 90"/>
          <p:cNvSpPr/>
          <p:nvPr/>
        </p:nvSpPr>
        <p:spPr>
          <a:xfrm>
            <a:off x="4105275" y="4169141"/>
            <a:ext cx="1845399" cy="7167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400" b="1" dirty="0"/>
              <a:t>Строительство (реконструкция) объектов образования</a:t>
            </a:r>
          </a:p>
        </p:txBody>
      </p:sp>
      <p:grpSp>
        <p:nvGrpSpPr>
          <p:cNvPr id="9" name="Группа 115"/>
          <p:cNvGrpSpPr/>
          <p:nvPr/>
        </p:nvGrpSpPr>
        <p:grpSpPr>
          <a:xfrm>
            <a:off x="6251110" y="285751"/>
            <a:ext cx="2893267" cy="3238500"/>
            <a:chOff x="5263265" y="2027943"/>
            <a:chExt cx="3844119" cy="3970051"/>
          </a:xfrm>
        </p:grpSpPr>
        <p:sp>
          <p:nvSpPr>
            <p:cNvPr id="126" name="Стрелка вправо 125"/>
            <p:cNvSpPr/>
            <p:nvPr/>
          </p:nvSpPr>
          <p:spPr>
            <a:xfrm rot="13214480" flipH="1">
              <a:off x="5793708" y="2027943"/>
              <a:ext cx="1417874" cy="1145018"/>
            </a:xfrm>
            <a:prstGeom prst="rightArrow">
              <a:avLst/>
            </a:prstGeom>
            <a:gradFill>
              <a:gsLst>
                <a:gs pos="89000">
                  <a:srgbClr val="A6B9BE">
                    <a:alpha val="47000"/>
                  </a:srgbClr>
                </a:gs>
                <a:gs pos="0">
                  <a:schemeClr val="accent6">
                    <a:lumMod val="75000"/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tabLst>
                  <a:tab pos="542925" algn="l"/>
                </a:tabLst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  <p:sp>
          <p:nvSpPr>
            <p:cNvPr id="117" name="Прямоугольник 116"/>
            <p:cNvSpPr/>
            <p:nvPr/>
          </p:nvSpPr>
          <p:spPr>
            <a:xfrm>
              <a:off x="5283132" y="3266604"/>
              <a:ext cx="3796013" cy="273139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8" name="Овал 117"/>
            <p:cNvSpPr/>
            <p:nvPr/>
          </p:nvSpPr>
          <p:spPr>
            <a:xfrm rot="371319">
              <a:off x="7483132" y="3388562"/>
              <a:ext cx="1624252" cy="62504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9" name="Прямоугольник 118"/>
            <p:cNvSpPr/>
            <p:nvPr/>
          </p:nvSpPr>
          <p:spPr>
            <a:xfrm rot="273913">
              <a:off x="7626464" y="3532008"/>
              <a:ext cx="1469732" cy="3018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563, 991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0" name="Скругленный прямоугольник 119"/>
            <p:cNvSpPr/>
            <p:nvPr/>
          </p:nvSpPr>
          <p:spPr>
            <a:xfrm>
              <a:off x="5320939" y="4088052"/>
              <a:ext cx="3604164" cy="574395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sz="4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1" name="Скругленный прямоугольник 120"/>
            <p:cNvSpPr/>
            <p:nvPr/>
          </p:nvSpPr>
          <p:spPr>
            <a:xfrm>
              <a:off x="7676833" y="4080194"/>
              <a:ext cx="1265533" cy="537008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542 ,741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22" name="Скругленный прямоугольник 121"/>
            <p:cNvSpPr/>
            <p:nvPr/>
          </p:nvSpPr>
          <p:spPr>
            <a:xfrm>
              <a:off x="5266012" y="5032040"/>
              <a:ext cx="3696345" cy="58544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5263265" y="4139566"/>
              <a:ext cx="2594493" cy="4305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200"/>
                </a:lnSpc>
              </a:pPr>
              <a:r>
                <a:rPr lang="ru-RU" sz="1200" dirty="0" smtClean="0"/>
                <a:t>Поддержка семей </a:t>
              </a:r>
              <a:r>
                <a:rPr lang="ru-RU" sz="1200" dirty="0"/>
                <a:t>с детьми</a:t>
              </a:r>
            </a:p>
          </p:txBody>
        </p:sp>
        <p:sp>
          <p:nvSpPr>
            <p:cNvPr id="125" name="Прямоугольник 124"/>
            <p:cNvSpPr/>
            <p:nvPr/>
          </p:nvSpPr>
          <p:spPr>
            <a:xfrm>
              <a:off x="5376634" y="5123624"/>
              <a:ext cx="2233468" cy="3477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sz="1200" dirty="0" smtClean="0"/>
                <a:t>Защита детей-сирот</a:t>
              </a:r>
              <a:endParaRPr lang="ru-RU" sz="1200" dirty="0"/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8068199" y="2743201"/>
            <a:ext cx="928644" cy="499472"/>
          </a:xfrm>
          <a:prstGeom prst="roundRect">
            <a:avLst>
              <a:gd name="adj" fmla="val 50000"/>
            </a:avLst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1, 250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302417" y="1410806"/>
            <a:ext cx="1774518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400" b="1" dirty="0" smtClean="0"/>
              <a:t>Социальная поддержка детей</a:t>
            </a:r>
            <a:endParaRPr lang="ru-RU" sz="1400" b="1" dirty="0"/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18</a:t>
            </a:fld>
            <a:endParaRPr lang="ru-RU"/>
          </a:p>
        </p:txBody>
      </p:sp>
      <p:sp>
        <p:nvSpPr>
          <p:cNvPr id="93" name="Скругленный прямоугольник 92"/>
          <p:cNvSpPr/>
          <p:nvPr/>
        </p:nvSpPr>
        <p:spPr>
          <a:xfrm>
            <a:off x="2759753" y="2794813"/>
            <a:ext cx="983572" cy="545942"/>
          </a:xfrm>
          <a:prstGeom prst="roundRect">
            <a:avLst>
              <a:gd name="adj" fmla="val 50000"/>
            </a:avLst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4, 719</a:t>
            </a:r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94" name="Скругленный прямоугольник 93"/>
          <p:cNvSpPr/>
          <p:nvPr/>
        </p:nvSpPr>
        <p:spPr>
          <a:xfrm>
            <a:off x="2720179" y="3715137"/>
            <a:ext cx="1023146" cy="545942"/>
          </a:xfrm>
          <a:prstGeom prst="roundRect">
            <a:avLst>
              <a:gd name="adj" fmla="val 50000"/>
            </a:avLst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, 200</a:t>
            </a:r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18" name="Группа 94"/>
          <p:cNvGrpSpPr/>
          <p:nvPr/>
        </p:nvGrpSpPr>
        <p:grpSpPr>
          <a:xfrm>
            <a:off x="5728160" y="228600"/>
            <a:ext cx="3415840" cy="6427316"/>
            <a:chOff x="3273973" y="-136814"/>
            <a:chExt cx="5238396" cy="6320211"/>
          </a:xfrm>
        </p:grpSpPr>
        <p:sp>
          <p:nvSpPr>
            <p:cNvPr id="96" name="Прямоугольник 95"/>
            <p:cNvSpPr/>
            <p:nvPr/>
          </p:nvSpPr>
          <p:spPr>
            <a:xfrm>
              <a:off x="4716355" y="3452006"/>
              <a:ext cx="3796013" cy="27313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7" name="Овал 96"/>
            <p:cNvSpPr/>
            <p:nvPr/>
          </p:nvSpPr>
          <p:spPr>
            <a:xfrm rot="371319">
              <a:off x="6763667" y="3547585"/>
              <a:ext cx="1702954" cy="603251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 104"/>
            <p:cNvSpPr/>
            <p:nvPr/>
          </p:nvSpPr>
          <p:spPr>
            <a:xfrm rot="273913">
              <a:off x="6805136" y="3779495"/>
              <a:ext cx="1689928" cy="2799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879, 328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7" name="Скругленный прямоугольник 106"/>
            <p:cNvSpPr/>
            <p:nvPr/>
          </p:nvSpPr>
          <p:spPr>
            <a:xfrm>
              <a:off x="4816024" y="4555180"/>
              <a:ext cx="3696345" cy="574397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sz="3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Скругленный прямоугольник 108"/>
            <p:cNvSpPr/>
            <p:nvPr/>
          </p:nvSpPr>
          <p:spPr>
            <a:xfrm>
              <a:off x="7042220" y="4598252"/>
              <a:ext cx="1389293" cy="400048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320, 156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5" name="Скругленный прямоугольник 114"/>
            <p:cNvSpPr/>
            <p:nvPr/>
          </p:nvSpPr>
          <p:spPr>
            <a:xfrm>
              <a:off x="4756160" y="5190670"/>
              <a:ext cx="3696345" cy="585440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31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 algn="just">
                <a:lnSpc>
                  <a:spcPts val="1800"/>
                </a:lnSpc>
                <a:defRPr/>
              </a:pPr>
              <a:endParaRPr lang="ru-RU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3" name="Скругленный прямоугольник 122"/>
            <p:cNvSpPr/>
            <p:nvPr/>
          </p:nvSpPr>
          <p:spPr>
            <a:xfrm>
              <a:off x="7066657" y="5337455"/>
              <a:ext cx="1390813" cy="39119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559, 172</a:t>
              </a: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29" name="Прямоугольник 128"/>
            <p:cNvSpPr/>
            <p:nvPr/>
          </p:nvSpPr>
          <p:spPr>
            <a:xfrm>
              <a:off x="4816022" y="4566076"/>
              <a:ext cx="2421100" cy="5850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ru-RU" sz="1200" dirty="0" smtClean="0"/>
                <a:t>Дошкольные учреждения</a:t>
              </a:r>
              <a:endParaRPr lang="ru-RU" sz="1400" dirty="0"/>
            </a:p>
          </p:txBody>
        </p:sp>
        <p:sp>
          <p:nvSpPr>
            <p:cNvPr id="130" name="Прямоугольник 129"/>
            <p:cNvSpPr/>
            <p:nvPr/>
          </p:nvSpPr>
          <p:spPr>
            <a:xfrm>
              <a:off x="4618488" y="5358040"/>
              <a:ext cx="2845784" cy="5201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ru-RU" sz="1150" dirty="0" smtClean="0"/>
                <a:t>Общеобразовательные учреждения</a:t>
              </a:r>
              <a:endParaRPr lang="ru-RU" sz="1150" dirty="0"/>
            </a:p>
          </p:txBody>
        </p:sp>
        <p:sp>
          <p:nvSpPr>
            <p:cNvPr id="131" name="Стрелка вправо 130"/>
            <p:cNvSpPr/>
            <p:nvPr/>
          </p:nvSpPr>
          <p:spPr>
            <a:xfrm rot="14878500" flipH="1">
              <a:off x="1876036" y="1261123"/>
              <a:ext cx="3835079" cy="1039205"/>
            </a:xfrm>
            <a:prstGeom prst="rightArrow">
              <a:avLst/>
            </a:prstGeom>
            <a:gradFill>
              <a:gsLst>
                <a:gs pos="89000">
                  <a:srgbClr val="A6B9BE">
                    <a:alpha val="47000"/>
                  </a:srgbClr>
                </a:gs>
                <a:gs pos="0">
                  <a:schemeClr val="accent6">
                    <a:lumMod val="75000"/>
                    <a:alpha val="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tabLst>
                  <a:tab pos="542925" algn="l"/>
                </a:tabLst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</p:grpSp>
      <p:sp>
        <p:nvSpPr>
          <p:cNvPr id="132" name="Прямоугольник 131"/>
          <p:cNvSpPr/>
          <p:nvPr/>
        </p:nvSpPr>
        <p:spPr>
          <a:xfrm>
            <a:off x="6457950" y="3506672"/>
            <a:ext cx="1847850" cy="7167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400" b="1" dirty="0" smtClean="0"/>
              <a:t>Средства на обеспечение  образовательного процесса</a:t>
            </a:r>
            <a:endParaRPr lang="ru-RU" sz="1400" b="1" dirty="0"/>
          </a:p>
        </p:txBody>
      </p:sp>
      <p:pic>
        <p:nvPicPr>
          <p:cNvPr id="3078" name="Picture 6" descr="Похожее изображение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7958" y="2647950"/>
            <a:ext cx="1744218" cy="1550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3" name="Таблица 112"/>
          <p:cNvGraphicFramePr>
            <a:graphicFrameLocks noGrp="1"/>
          </p:cNvGraphicFramePr>
          <p:nvPr/>
        </p:nvGraphicFramePr>
        <p:xfrm>
          <a:off x="0" y="4937760"/>
          <a:ext cx="4267202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5498"/>
                <a:gridCol w="671804"/>
                <a:gridCol w="733425"/>
                <a:gridCol w="742950"/>
                <a:gridCol w="752475"/>
                <a:gridCol w="781050"/>
              </a:tblGrid>
              <a:tr h="37016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Окна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монт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воры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зопасность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ровли</a:t>
                      </a:r>
                    </a:p>
                  </a:txBody>
                  <a:tcPr>
                    <a:solidFill>
                      <a:srgbClr val="FFFFCC"/>
                    </a:solidFill>
                  </a:tcPr>
                </a:tc>
              </a:tr>
              <a:tr h="28474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20</a:t>
                      </a:r>
                      <a:endParaRPr lang="ru-RU" sz="1200" dirty="0"/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8,086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4,565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2,02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10,902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2,59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8474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9</a:t>
                      </a:r>
                      <a:endParaRPr lang="ru-RU" sz="1200" dirty="0"/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7,338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0,164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4,190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5,822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2,59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8474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8</a:t>
                      </a:r>
                      <a:endParaRPr lang="ru-RU" sz="1200" dirty="0"/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6,736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3,270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0,66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5,935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11,345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8474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</a:t>
                      </a:r>
                      <a:endParaRPr lang="ru-RU" sz="1200" dirty="0"/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6,471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2,687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1,394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5,527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2,944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8474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</a:t>
                      </a:r>
                      <a:endParaRPr lang="ru-RU" sz="1200" dirty="0"/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3,234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11,922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1,0479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 smtClean="0"/>
                        <a:t>5,773</a:t>
                      </a:r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400" dirty="0"/>
                    </a:p>
                  </a:txBody>
                  <a:tcPr>
                    <a:gradFill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5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pic>
        <p:nvPicPr>
          <p:cNvPr id="116" name="Picture 11" descr="5gor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Заголовок 2"/>
          <p:cNvSpPr txBox="1">
            <a:spLocks/>
          </p:cNvSpPr>
          <p:nvPr/>
        </p:nvSpPr>
        <p:spPr>
          <a:xfrm>
            <a:off x="1162049" y="0"/>
            <a:ext cx="7981951" cy="1163695"/>
          </a:xfrm>
          <a:prstGeom prst="rect">
            <a:avLst/>
          </a:prstGeom>
          <a:solidFill>
            <a:srgbClr val="99CCFF">
              <a:alpha val="86000"/>
            </a:srgbClr>
          </a:solidFill>
          <a:ln w="6350" cap="rnd">
            <a:noFill/>
          </a:ln>
        </p:spPr>
        <p:txBody>
          <a:bodyPr vert="horz" rtlCol="0" anchor="ctr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Поддержка детства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grpSp>
        <p:nvGrpSpPr>
          <p:cNvPr id="135" name="Группа 11"/>
          <p:cNvGrpSpPr/>
          <p:nvPr/>
        </p:nvGrpSpPr>
        <p:grpSpPr>
          <a:xfrm>
            <a:off x="3762375" y="1238599"/>
            <a:ext cx="2686050" cy="1266475"/>
            <a:chOff x="323528" y="1114872"/>
            <a:chExt cx="1656184" cy="1099284"/>
          </a:xfrm>
        </p:grpSpPr>
        <p:sp>
          <p:nvSpPr>
            <p:cNvPr id="136" name="Прямоугольник 135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 577,8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663134" y="1114872"/>
              <a:ext cx="1080120" cy="399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prstClr val="black"/>
                  </a:solidFill>
                  <a:latin typeface="+mn-lt"/>
                </a:rPr>
                <a:t>2020 </a:t>
              </a:r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sp>
        <p:nvSpPr>
          <p:cNvPr id="138" name="Прямоугольник 137"/>
          <p:cNvSpPr/>
          <p:nvPr/>
        </p:nvSpPr>
        <p:spPr>
          <a:xfrm>
            <a:off x="0" y="4484284"/>
            <a:ext cx="4238625" cy="374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>
              <a:lnSpc>
                <a:spcPts val="1100"/>
              </a:lnSpc>
            </a:pPr>
            <a:r>
              <a:rPr lang="ru-RU" sz="1400" b="1" dirty="0" smtClean="0">
                <a:solidFill>
                  <a:srgbClr val="000000"/>
                </a:solidFill>
              </a:rPr>
              <a:t>Укрепление материально-технической базы образовательных организаций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65" name="Прямоугольник 64"/>
          <p:cNvSpPr>
            <a:spLocks noChangeArrowheads="1"/>
          </p:cNvSpPr>
          <p:nvPr/>
        </p:nvSpPr>
        <p:spPr bwMode="auto">
          <a:xfrm>
            <a:off x="7871637" y="83128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24711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971551" y="218872"/>
            <a:ext cx="8172450" cy="1078173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Улучшение условий предоставления образования в образовательных организациях города-курорта Пятигорска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pic>
        <p:nvPicPr>
          <p:cNvPr id="1030" name="Picture 6" descr="https://lootmaker.ru/wp-content/uploads/2018/03/investirovanie-v-nedvizhimost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428875" y="2524125"/>
            <a:ext cx="4105275" cy="2247900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3924300" y="3105150"/>
            <a:ext cx="10477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школа</a:t>
            </a:r>
            <a:endParaRPr lang="ru-RU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Группа 11"/>
          <p:cNvGrpSpPr/>
          <p:nvPr/>
        </p:nvGrpSpPr>
        <p:grpSpPr>
          <a:xfrm>
            <a:off x="2817514" y="1438624"/>
            <a:ext cx="2992735" cy="1295051"/>
            <a:chOff x="323528" y="1114872"/>
            <a:chExt cx="1656184" cy="1099284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28,831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63134" y="1114872"/>
              <a:ext cx="1080120" cy="399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prstClr val="black"/>
                  </a:solidFill>
                  <a:latin typeface="+mn-lt"/>
                </a:rPr>
                <a:t>2020 </a:t>
              </a:r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0" y="2171700"/>
            <a:ext cx="2736363" cy="1647825"/>
            <a:chOff x="3425205" y="1278285"/>
            <a:chExt cx="2448272" cy="998587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5"/>
              </p:custDataLst>
            </p:nvPr>
          </p:nvSpPr>
          <p:spPr>
            <a:xfrm>
              <a:off x="3793390" y="1781736"/>
              <a:ext cx="1683378" cy="49513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2, 59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монт кровель</a:t>
              </a:r>
            </a:p>
          </p:txBody>
        </p:sp>
      </p:grpSp>
      <p:grpSp>
        <p:nvGrpSpPr>
          <p:cNvPr id="24" name="Группа 20"/>
          <p:cNvGrpSpPr/>
          <p:nvPr/>
        </p:nvGrpSpPr>
        <p:grpSpPr>
          <a:xfrm>
            <a:off x="230597" y="4299173"/>
            <a:ext cx="2448272" cy="1558702"/>
            <a:chOff x="206082" y="2913496"/>
            <a:chExt cx="2448272" cy="987443"/>
          </a:xfrm>
        </p:grpSpPr>
        <p:sp>
          <p:nvSpPr>
            <p:cNvPr id="25" name="Скругленный прямоугольник 24"/>
            <p:cNvSpPr/>
            <p:nvPr>
              <p:custDataLst>
                <p:tags r:id="rId4"/>
              </p:custDataLst>
            </p:nvPr>
          </p:nvSpPr>
          <p:spPr>
            <a:xfrm>
              <a:off x="404110" y="3400107"/>
              <a:ext cx="1935002" cy="50083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8, 086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6" name="AutoShape 32"/>
            <p:cNvSpPr>
              <a:spLocks noChangeArrowheads="1"/>
            </p:cNvSpPr>
            <p:nvPr/>
          </p:nvSpPr>
          <p:spPr bwMode="auto">
            <a:xfrm>
              <a:off x="206082" y="2913496"/>
              <a:ext cx="2448272" cy="47454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Замена окон</a:t>
              </a:r>
              <a:endParaRPr lang="ru-RU" sz="2000" dirty="0">
                <a:latin typeface="+mj-lt"/>
              </a:endParaRPr>
            </a:p>
          </p:txBody>
        </p:sp>
      </p:grpSp>
      <p:grpSp>
        <p:nvGrpSpPr>
          <p:cNvPr id="27" name="Группа 32"/>
          <p:cNvGrpSpPr/>
          <p:nvPr/>
        </p:nvGrpSpPr>
        <p:grpSpPr>
          <a:xfrm>
            <a:off x="6124575" y="1790700"/>
            <a:ext cx="2876549" cy="2124077"/>
            <a:chOff x="6667153" y="1192953"/>
            <a:chExt cx="2448272" cy="1238885"/>
          </a:xfrm>
        </p:grpSpPr>
        <p:sp>
          <p:nvSpPr>
            <p:cNvPr id="28" name="Скругленный прямоугольник 27"/>
            <p:cNvSpPr/>
            <p:nvPr>
              <p:custDataLst>
                <p:tags r:id="rId3"/>
              </p:custDataLst>
            </p:nvPr>
          </p:nvSpPr>
          <p:spPr>
            <a:xfrm>
              <a:off x="7256551" y="2044692"/>
              <a:ext cx="1620783" cy="387146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05, 227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9" name="AutoShape 32"/>
            <p:cNvSpPr>
              <a:spLocks noChangeArrowheads="1"/>
            </p:cNvSpPr>
            <p:nvPr/>
          </p:nvSpPr>
          <p:spPr bwMode="auto">
            <a:xfrm>
              <a:off x="6667153" y="1192953"/>
              <a:ext cx="2448272" cy="92085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lvl="0"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Строительство,</a:t>
              </a:r>
            </a:p>
            <a:p>
              <a:pPr lvl="0"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 реконструкция и ремонт зданий</a:t>
              </a:r>
              <a:endParaRPr lang="ru-RU" sz="2000" dirty="0">
                <a:latin typeface="+mj-lt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6296025" y="4229100"/>
            <a:ext cx="2841672" cy="1752600"/>
            <a:chOff x="6366899" y="3053745"/>
            <a:chExt cx="2448272" cy="989658"/>
          </a:xfrm>
        </p:grpSpPr>
        <p:sp>
          <p:nvSpPr>
            <p:cNvPr id="31" name="Скругленный прямоугольник 30"/>
            <p:cNvSpPr/>
            <p:nvPr>
              <p:custDataLst>
                <p:tags r:id="rId2"/>
              </p:custDataLst>
            </p:nvPr>
          </p:nvSpPr>
          <p:spPr>
            <a:xfrm>
              <a:off x="6726616" y="3586390"/>
              <a:ext cx="1688555" cy="45701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0, 902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2" name="AutoShape 32"/>
            <p:cNvSpPr>
              <a:spLocks noChangeArrowheads="1"/>
            </p:cNvSpPr>
            <p:nvPr/>
          </p:nvSpPr>
          <p:spPr bwMode="auto">
            <a:xfrm>
              <a:off x="6366899" y="3053745"/>
              <a:ext cx="2448272" cy="54323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безопасности</a:t>
              </a:r>
              <a:endParaRPr lang="ru-RU" sz="2000" dirty="0">
                <a:latin typeface="+mj-lt"/>
              </a:endParaRPr>
            </a:p>
          </p:txBody>
        </p:sp>
      </p:grpSp>
      <p:grpSp>
        <p:nvGrpSpPr>
          <p:cNvPr id="33" name="Группа 45"/>
          <p:cNvGrpSpPr/>
          <p:nvPr/>
        </p:nvGrpSpPr>
        <p:grpSpPr>
          <a:xfrm>
            <a:off x="3057525" y="4714875"/>
            <a:ext cx="3181350" cy="1833251"/>
            <a:chOff x="638941" y="2327077"/>
            <a:chExt cx="2448272" cy="1621179"/>
          </a:xfrm>
        </p:grpSpPr>
        <p:sp>
          <p:nvSpPr>
            <p:cNvPr id="34" name="Скругленный прямоугольник 33"/>
            <p:cNvSpPr/>
            <p:nvPr>
              <p:custDataLst>
                <p:tags r:id="rId1"/>
              </p:custDataLst>
            </p:nvPr>
          </p:nvSpPr>
          <p:spPr>
            <a:xfrm>
              <a:off x="934753" y="3219904"/>
              <a:ext cx="1683378" cy="72835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cs typeface="Times New Roman" pitchFamily="18" charset="0"/>
                </a:rPr>
                <a:t>2, 02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cs typeface="Times New Roman" pitchFamily="18" charset="0"/>
              </a:endParaRPr>
            </a:p>
          </p:txBody>
        </p:sp>
        <p:sp>
          <p:nvSpPr>
            <p:cNvPr id="35" name="AutoShape 32"/>
            <p:cNvSpPr>
              <a:spLocks noChangeArrowheads="1"/>
            </p:cNvSpPr>
            <p:nvPr/>
          </p:nvSpPr>
          <p:spPr bwMode="auto">
            <a:xfrm>
              <a:off x="638941" y="2327077"/>
              <a:ext cx="2448272" cy="87600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Благоустройство школьных дворов</a:t>
              </a:r>
            </a:p>
          </p:txBody>
        </p:sp>
      </p:grpSp>
      <p:sp>
        <p:nvSpPr>
          <p:cNvPr id="36" name="Прямоугольник 35"/>
          <p:cNvSpPr>
            <a:spLocks noChangeArrowheads="1"/>
          </p:cNvSpPr>
          <p:nvPr/>
        </p:nvSpPr>
        <p:spPr bwMode="auto">
          <a:xfrm>
            <a:off x="7871637" y="1383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Схема 8"/>
          <p:cNvGraphicFramePr/>
          <p:nvPr/>
        </p:nvGraphicFramePr>
        <p:xfrm>
          <a:off x="-2152650" y="3181351"/>
          <a:ext cx="13163550" cy="34385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209675" y="167410"/>
            <a:ext cx="7629526" cy="1143000"/>
          </a:xfrm>
        </p:spPr>
        <p:txBody>
          <a:bodyPr>
            <a:noAutofit/>
          </a:bodyPr>
          <a:lstStyle/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СБАЛАНСИРОВАННОСТЬ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Блок-схема: процесс 16"/>
          <p:cNvSpPr/>
          <p:nvPr/>
        </p:nvSpPr>
        <p:spPr>
          <a:xfrm>
            <a:off x="1152525" y="2933700"/>
            <a:ext cx="6638925" cy="247650"/>
          </a:xfrm>
          <a:prstGeom prst="flowChartProcess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Блок-схема: узел 18"/>
          <p:cNvSpPr/>
          <p:nvPr/>
        </p:nvSpPr>
        <p:spPr>
          <a:xfrm>
            <a:off x="1323975" y="1790700"/>
            <a:ext cx="1085851" cy="1123951"/>
          </a:xfrm>
          <a:prstGeom prst="flowChartConnector">
            <a:avLst/>
          </a:prstGeom>
          <a:solidFill>
            <a:srgbClr val="FFFF00"/>
          </a:solidFill>
          <a:ln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Блок-схема: узел 19"/>
          <p:cNvSpPr/>
          <p:nvPr/>
        </p:nvSpPr>
        <p:spPr>
          <a:xfrm>
            <a:off x="6038850" y="3209926"/>
            <a:ext cx="933450" cy="895349"/>
          </a:xfrm>
          <a:prstGeom prst="flowChartConnector">
            <a:avLst/>
          </a:prstGeom>
          <a:solidFill>
            <a:srgbClr val="FF0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Блок-схема: узел 20"/>
          <p:cNvSpPr/>
          <p:nvPr/>
        </p:nvSpPr>
        <p:spPr>
          <a:xfrm>
            <a:off x="5676901" y="1428751"/>
            <a:ext cx="1524000" cy="1485900"/>
          </a:xfrm>
          <a:prstGeom prst="flowChartConnector">
            <a:avLst/>
          </a:prstGeom>
          <a:solidFill>
            <a:srgbClr val="0066FF"/>
          </a:solidFill>
          <a:ln>
            <a:solidFill>
              <a:srgbClr val="0066FF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996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2"/>
          <p:cNvSpPr txBox="1">
            <a:spLocks/>
          </p:cNvSpPr>
          <p:nvPr/>
        </p:nvSpPr>
        <p:spPr>
          <a:xfrm>
            <a:off x="1171575" y="218873"/>
            <a:ext cx="7972426" cy="771728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оциальная поддержка граждан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pic>
        <p:nvPicPr>
          <p:cNvPr id="70658" name="Picture 2" descr="https://rialight.kz/images/a76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083669" y="2486025"/>
            <a:ext cx="3398892" cy="2390775"/>
          </a:xfrm>
          <a:prstGeom prst="rect">
            <a:avLst/>
          </a:prstGeom>
          <a:noFill/>
        </p:spPr>
      </p:pic>
      <p:grpSp>
        <p:nvGrpSpPr>
          <p:cNvPr id="8" name="Группа 11"/>
          <p:cNvGrpSpPr/>
          <p:nvPr/>
        </p:nvGrpSpPr>
        <p:grpSpPr>
          <a:xfrm>
            <a:off x="3076576" y="1505299"/>
            <a:ext cx="3409950" cy="1085501"/>
            <a:chOff x="323528" y="1114872"/>
            <a:chExt cx="1656184" cy="1099284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183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63134" y="1114872"/>
              <a:ext cx="1080120" cy="399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prstClr val="black"/>
                  </a:solidFill>
                  <a:latin typeface="+mn-lt"/>
                </a:rPr>
                <a:t>2020 </a:t>
              </a:r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247650" y="1514475"/>
            <a:ext cx="3248025" cy="1809752"/>
            <a:chOff x="3425205" y="1278285"/>
            <a:chExt cx="2448272" cy="684274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7"/>
              </p:custDataLst>
            </p:nvPr>
          </p:nvSpPr>
          <p:spPr>
            <a:xfrm>
              <a:off x="3793390" y="1781735"/>
              <a:ext cx="1620588" cy="180824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105,9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Социальное обеспечение граждан за счет средств федерального и краевого бюджетов</a:t>
              </a:r>
            </a:p>
          </p:txBody>
        </p:sp>
      </p:grpSp>
      <p:grpSp>
        <p:nvGrpSpPr>
          <p:cNvPr id="17" name="Группа 35"/>
          <p:cNvGrpSpPr/>
          <p:nvPr/>
        </p:nvGrpSpPr>
        <p:grpSpPr>
          <a:xfrm>
            <a:off x="6276975" y="1571626"/>
            <a:ext cx="2736363" cy="1371599"/>
            <a:chOff x="3425205" y="1278285"/>
            <a:chExt cx="2448272" cy="831193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6"/>
              </p:custDataLst>
            </p:nvPr>
          </p:nvSpPr>
          <p:spPr>
            <a:xfrm>
              <a:off x="3793390" y="1781735"/>
              <a:ext cx="1683378" cy="32774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75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монт жилых помещений ветеранов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6219825" y="3257550"/>
            <a:ext cx="2924175" cy="1533525"/>
            <a:chOff x="3257166" y="1132741"/>
            <a:chExt cx="2616311" cy="771319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5"/>
              </p:custDataLst>
            </p:nvPr>
          </p:nvSpPr>
          <p:spPr>
            <a:xfrm>
              <a:off x="3810434" y="1667667"/>
              <a:ext cx="1683378" cy="23639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693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257166" y="1132741"/>
              <a:ext cx="2616311" cy="502180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Поддержка общественных организаций инвалидов и ветеранов</a:t>
              </a:r>
            </a:p>
          </p:txBody>
        </p:sp>
      </p:grpSp>
      <p:grpSp>
        <p:nvGrpSpPr>
          <p:cNvPr id="23" name="Группа 35"/>
          <p:cNvGrpSpPr/>
          <p:nvPr/>
        </p:nvGrpSpPr>
        <p:grpSpPr>
          <a:xfrm>
            <a:off x="6219825" y="5038724"/>
            <a:ext cx="2924175" cy="1400177"/>
            <a:chOff x="3257166" y="1060955"/>
            <a:chExt cx="2616311" cy="957175"/>
          </a:xfrm>
        </p:grpSpPr>
        <p:sp>
          <p:nvSpPr>
            <p:cNvPr id="24" name="Скругленный прямоугольник 23"/>
            <p:cNvSpPr/>
            <p:nvPr>
              <p:custDataLst>
                <p:tags r:id="rId4"/>
              </p:custDataLst>
            </p:nvPr>
          </p:nvSpPr>
          <p:spPr>
            <a:xfrm>
              <a:off x="3793390" y="1660003"/>
              <a:ext cx="1683378" cy="358127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357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5" name="AutoShape 32"/>
            <p:cNvSpPr>
              <a:spLocks noChangeArrowheads="1"/>
            </p:cNvSpPr>
            <p:nvPr/>
          </p:nvSpPr>
          <p:spPr bwMode="auto">
            <a:xfrm>
              <a:off x="3257166" y="1060955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Социально-культурные мероприятия по реабилитации</a:t>
              </a:r>
            </a:p>
          </p:txBody>
        </p:sp>
      </p:grpSp>
      <p:grpSp>
        <p:nvGrpSpPr>
          <p:cNvPr id="26" name="Группа 35"/>
          <p:cNvGrpSpPr/>
          <p:nvPr/>
        </p:nvGrpSpPr>
        <p:grpSpPr>
          <a:xfrm>
            <a:off x="3409950" y="4962523"/>
            <a:ext cx="2924175" cy="1524002"/>
            <a:chOff x="3257166" y="1278284"/>
            <a:chExt cx="2616311" cy="739845"/>
          </a:xfrm>
        </p:grpSpPr>
        <p:sp>
          <p:nvSpPr>
            <p:cNvPr id="27" name="Скругленный прямоугольник 26"/>
            <p:cNvSpPr/>
            <p:nvPr>
              <p:custDataLst>
                <p:tags r:id="rId3"/>
              </p:custDataLst>
            </p:nvPr>
          </p:nvSpPr>
          <p:spPr>
            <a:xfrm>
              <a:off x="3793390" y="1781736"/>
              <a:ext cx="1683378" cy="23639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2,954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8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Льготное транспортное обслуживание</a:t>
              </a:r>
            </a:p>
          </p:txBody>
        </p:sp>
      </p:grpSp>
      <p:grpSp>
        <p:nvGrpSpPr>
          <p:cNvPr id="29" name="Группа 35"/>
          <p:cNvGrpSpPr/>
          <p:nvPr/>
        </p:nvGrpSpPr>
        <p:grpSpPr>
          <a:xfrm>
            <a:off x="371475" y="3800474"/>
            <a:ext cx="2924175" cy="1009652"/>
            <a:chOff x="3257166" y="1278284"/>
            <a:chExt cx="2616311" cy="739845"/>
          </a:xfrm>
        </p:grpSpPr>
        <p:sp>
          <p:nvSpPr>
            <p:cNvPr id="30" name="Скругленный прямоугольник 29"/>
            <p:cNvSpPr/>
            <p:nvPr>
              <p:custDataLst>
                <p:tags r:id="rId2"/>
              </p:custDataLst>
            </p:nvPr>
          </p:nvSpPr>
          <p:spPr>
            <a:xfrm>
              <a:off x="3793390" y="1697064"/>
              <a:ext cx="1683378" cy="321065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3,762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1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Доступная среда для инвалидов</a:t>
              </a:r>
            </a:p>
          </p:txBody>
        </p:sp>
      </p:grpSp>
      <p:grpSp>
        <p:nvGrpSpPr>
          <p:cNvPr id="32" name="Группа 35"/>
          <p:cNvGrpSpPr/>
          <p:nvPr/>
        </p:nvGrpSpPr>
        <p:grpSpPr>
          <a:xfrm>
            <a:off x="361950" y="5343524"/>
            <a:ext cx="2924175" cy="1228726"/>
            <a:chOff x="3257166" y="1278284"/>
            <a:chExt cx="2616311" cy="739845"/>
          </a:xfrm>
        </p:grpSpPr>
        <p:sp>
          <p:nvSpPr>
            <p:cNvPr id="33" name="Скругленный прямоугольник 32"/>
            <p:cNvSpPr/>
            <p:nvPr>
              <p:custDataLst>
                <p:tags r:id="rId1"/>
              </p:custDataLst>
            </p:nvPr>
          </p:nvSpPr>
          <p:spPr>
            <a:xfrm>
              <a:off x="3793390" y="1702691"/>
              <a:ext cx="1683378" cy="315438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0,196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34" name="AutoShape 32"/>
            <p:cNvSpPr>
              <a:spLocks noChangeArrowheads="1"/>
            </p:cNvSpPr>
            <p:nvPr/>
          </p:nvSpPr>
          <p:spPr bwMode="auto">
            <a:xfrm>
              <a:off x="3257166" y="1278284"/>
              <a:ext cx="2616311" cy="44471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Муниципальная адресная социальная помощь</a:t>
              </a:r>
            </a:p>
          </p:txBody>
        </p:sp>
      </p:grpSp>
      <p:sp>
        <p:nvSpPr>
          <p:cNvPr id="35" name="Прямоугольник 34"/>
          <p:cNvSpPr>
            <a:spLocks noChangeArrowheads="1"/>
          </p:cNvSpPr>
          <p:nvPr/>
        </p:nvSpPr>
        <p:spPr bwMode="auto">
          <a:xfrm>
            <a:off x="7871637" y="9741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5400" y="247650"/>
            <a:ext cx="7848600" cy="1169988"/>
          </a:xfrm>
        </p:spPr>
        <p:txBody>
          <a:bodyPr/>
          <a:lstStyle/>
          <a:p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Улучшение жилищных условий молодых семей  в</a:t>
            </a:r>
            <a:r>
              <a:rPr 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 2019-2020 году (в тыс. руб.)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  <a:t/>
            </a:r>
            <a:br>
              <a:rPr lang="ru-RU" b="1" dirty="0" smtClean="0">
                <a:solidFill>
                  <a:schemeClr val="accent6">
                    <a:lumMod val="75000"/>
                  </a:schemeClr>
                </a:solidFill>
                <a:cs typeface="Times New Roman" pitchFamily="18" charset="0"/>
              </a:rPr>
            </a:br>
            <a:endParaRPr lang="ru-RU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0" y="1095376"/>
            <a:ext cx="6835681" cy="5610224"/>
            <a:chOff x="-545255" y="1489183"/>
            <a:chExt cx="7565527" cy="4748129"/>
          </a:xfrm>
        </p:grpSpPr>
        <p:sp>
          <p:nvSpPr>
            <p:cNvPr id="5" name="Скругленный прямоугольник 4"/>
            <p:cNvSpPr/>
            <p:nvPr/>
          </p:nvSpPr>
          <p:spPr bwMode="auto">
            <a:xfrm>
              <a:off x="-525119" y="1915020"/>
              <a:ext cx="3655840" cy="1515990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just">
                <a:lnSpc>
                  <a:spcPts val="1600"/>
                </a:lnSpc>
                <a:defRPr/>
              </a:pPr>
              <a:r>
                <a:rPr lang="ru-RU" sz="1100" b="1" dirty="0">
                  <a:solidFill>
                    <a:schemeClr val="tx1"/>
                  </a:solidFill>
                </a:rPr>
                <a:t>Предоставление молодым семьям, имеющим трех и более детей, социальных выплат на приобретение (строительство) жилья</a:t>
              </a:r>
            </a:p>
          </p:txBody>
        </p:sp>
        <p:sp>
          <p:nvSpPr>
            <p:cNvPr id="6" name="Скругленный прямоугольник 5"/>
            <p:cNvSpPr/>
            <p:nvPr/>
          </p:nvSpPr>
          <p:spPr bwMode="auto">
            <a:xfrm>
              <a:off x="-545255" y="3431010"/>
              <a:ext cx="3655841" cy="1260000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just">
                <a:lnSpc>
                  <a:spcPts val="1100"/>
                </a:lnSpc>
                <a:defRPr/>
              </a:pPr>
              <a:r>
                <a:rPr lang="ru-RU" sz="1100" b="1" dirty="0">
                  <a:solidFill>
                    <a:schemeClr val="tx1"/>
                  </a:solidFill>
                </a:rPr>
                <a:t>Предоставление молодым семьям социальных выплат на приобретение (строительство) жилья, нуждающимся в улучшении жилищных условий, </a:t>
              </a:r>
              <a:r>
                <a:rPr lang="ru-RU" sz="1000" b="1" dirty="0">
                  <a:solidFill>
                    <a:schemeClr val="tx1"/>
                  </a:solidFill>
                </a:rPr>
                <a:t>имеющим</a:t>
              </a:r>
              <a:r>
                <a:rPr lang="ru-RU" sz="1100" b="1" dirty="0">
                  <a:solidFill>
                    <a:schemeClr val="tx1"/>
                  </a:solidFill>
                </a:rPr>
                <a:t> одного или двух детей, а также, не имеющим детей, социальных выплат на приобретение (строительство) жилья</a:t>
              </a: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-525120" y="4977312"/>
              <a:ext cx="3574132" cy="1260000"/>
            </a:xfrm>
            <a:prstGeom prst="round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just">
                <a:lnSpc>
                  <a:spcPts val="1100"/>
                </a:lnSpc>
                <a:defRPr/>
              </a:pPr>
              <a:r>
                <a:rPr lang="ru-RU" sz="1100" b="1" dirty="0">
                  <a:solidFill>
                    <a:schemeClr val="tx1"/>
                  </a:solidFill>
                </a:rPr>
                <a:t>Предоставление социальных выплат на приобретение (строительство) жилья семьям, исключенным из числа участников основного мероприятия "Обеспечение жильем молодых семей"  в связи с превышением одним из супругов либо родителя в неполной семье возраста 35 лет и в которых возраст каждого из супругов либо родителя в неполной семье в 2018 году не превысил 39 лет</a:t>
              </a:r>
            </a:p>
          </p:txBody>
        </p:sp>
        <p:sp>
          <p:nvSpPr>
            <p:cNvPr id="8" name="Скругленный прямоугольник 7"/>
            <p:cNvSpPr/>
            <p:nvPr>
              <p:custDataLst>
                <p:tags r:id="rId1"/>
              </p:custDataLst>
            </p:nvPr>
          </p:nvSpPr>
          <p:spPr>
            <a:xfrm>
              <a:off x="2990837" y="1489183"/>
              <a:ext cx="1631473" cy="4716000"/>
            </a:xfrm>
            <a:prstGeom prst="roundRect">
              <a:avLst>
                <a:gd name="adj" fmla="val 13269"/>
              </a:avLst>
            </a:prstGeom>
            <a:solidFill>
              <a:schemeClr val="bg1">
                <a:lumMod val="95000"/>
                <a:alpha val="87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216000" tIns="0" bIns="0" anchor="ctr"/>
            <a:lstStyle/>
            <a:p>
              <a:pPr fontAlgn="auto">
                <a:lnSpc>
                  <a:spcPts val="16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3021014" y="2227702"/>
              <a:ext cx="1563698" cy="826389"/>
            </a:xfrm>
            <a:prstGeom prst="roundRect">
              <a:avLst>
                <a:gd name="adj" fmla="val 4433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spcAft>
                  <a:spcPts val="600"/>
                </a:spcAft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18 258,4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  <a:p>
              <a:pPr indent="-398463" algn="ctr">
                <a:lnSpc>
                  <a:spcPts val="14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(10 семей</a:t>
              </a:r>
              <a:r>
                <a:rPr lang="ru-RU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)</a:t>
              </a:r>
              <a:endPara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3168646" y="1615969"/>
              <a:ext cx="1187330" cy="598102"/>
            </a:xfrm>
            <a:prstGeom prst="roundRect">
              <a:avLst>
                <a:gd name="adj" fmla="val 32849"/>
              </a:avLst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2000" b="1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Tahoma" pitchFamily="34" charset="0"/>
                </a:rPr>
                <a:t>2019 </a:t>
              </a:r>
              <a:r>
                <a:rPr lang="ru-RU" sz="2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Tahoma" pitchFamily="34" charset="0"/>
                </a:rPr>
                <a:t>год</a:t>
              </a:r>
              <a:endPara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1" name="Скругленный прямоугольник 10"/>
            <p:cNvSpPr/>
            <p:nvPr/>
          </p:nvSpPr>
          <p:spPr>
            <a:xfrm>
              <a:off x="3069933" y="3597851"/>
              <a:ext cx="1465859" cy="826389"/>
            </a:xfrm>
            <a:prstGeom prst="roundRect">
              <a:avLst>
                <a:gd name="adj" fmla="val 4433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spcAft>
                  <a:spcPts val="600"/>
                </a:spcAft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47 220,4  </a:t>
              </a: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(75 семей)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>
              <a:off x="3069933" y="5109777"/>
              <a:ext cx="1430769" cy="826389"/>
            </a:xfrm>
            <a:prstGeom prst="roundRect">
              <a:avLst>
                <a:gd name="adj" fmla="val 4433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spcAft>
                  <a:spcPts val="600"/>
                </a:spcAft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14 103,0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  <a:p>
              <a:pPr indent="-398463" algn="ctr">
                <a:lnSpc>
                  <a:spcPts val="14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(19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семей)</a:t>
              </a:r>
            </a:p>
          </p:txBody>
        </p:sp>
        <p:sp>
          <p:nvSpPr>
            <p:cNvPr id="13" name="Скругленный прямоугольник 12"/>
            <p:cNvSpPr/>
            <p:nvPr>
              <p:custDataLst>
                <p:tags r:id="rId2"/>
              </p:custDataLst>
            </p:nvPr>
          </p:nvSpPr>
          <p:spPr>
            <a:xfrm>
              <a:off x="4742627" y="1489183"/>
              <a:ext cx="1762375" cy="4716000"/>
            </a:xfrm>
            <a:prstGeom prst="roundRect">
              <a:avLst>
                <a:gd name="adj" fmla="val 13269"/>
              </a:avLst>
            </a:prstGeom>
            <a:solidFill>
              <a:schemeClr val="bg1">
                <a:lumMod val="95000"/>
                <a:alpha val="87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216000" tIns="0" bIns="0" anchor="ctr"/>
            <a:lstStyle/>
            <a:p>
              <a:pPr fontAlgn="auto">
                <a:lnSpc>
                  <a:spcPts val="1600"/>
                </a:lnSpc>
                <a:spcBef>
                  <a:spcPct val="20000"/>
                </a:spcBef>
                <a:spcAft>
                  <a:spcPts val="0"/>
                </a:spcAft>
                <a:defRPr/>
              </a:pPr>
              <a:endParaRPr lang="ru-RU" b="1" dirty="0">
                <a:ln w="10541" cmpd="sng">
                  <a:noFill/>
                  <a:prstDash val="solid"/>
                </a:ln>
                <a:solidFill>
                  <a:schemeClr val="tx1">
                    <a:lumMod val="75000"/>
                    <a:lumOff val="25000"/>
                  </a:schemeClr>
                </a:solidFill>
                <a:cs typeface="Times New Roman" pitchFamily="18" charset="0"/>
              </a:endParaRP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4817056" y="2227702"/>
              <a:ext cx="1504139" cy="826389"/>
            </a:xfrm>
            <a:prstGeom prst="roundRect">
              <a:avLst>
                <a:gd name="adj" fmla="val 44330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spcAft>
                  <a:spcPts val="600"/>
                </a:spcAft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29 616,3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  <a:p>
              <a:pPr indent="-398463" algn="ctr">
                <a:lnSpc>
                  <a:spcPts val="14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(15 семей)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5" name="Скругленный прямоугольник 14"/>
            <p:cNvSpPr/>
            <p:nvPr/>
          </p:nvSpPr>
          <p:spPr>
            <a:xfrm>
              <a:off x="5074018" y="1615969"/>
              <a:ext cx="1187330" cy="598102"/>
            </a:xfrm>
            <a:prstGeom prst="roundRect">
              <a:avLst>
                <a:gd name="adj" fmla="val 32849"/>
              </a:avLst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20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Tahoma" pitchFamily="34" charset="0"/>
                </a:rPr>
                <a:t>2020 год</a:t>
              </a:r>
              <a:endParaRPr lang="ru-RU" sz="2000" b="1" dirty="0">
                <a:solidFill>
                  <a:schemeClr val="tx1">
                    <a:lumMod val="85000"/>
                    <a:lumOff val="15000"/>
                  </a:schemeClr>
                </a:solidFill>
                <a:cs typeface="Tahoma" pitchFamily="34" charset="0"/>
              </a:endParaRPr>
            </a:p>
          </p:txBody>
        </p:sp>
        <p:sp>
          <p:nvSpPr>
            <p:cNvPr id="16" name="Скругленный прямоугольник 15"/>
            <p:cNvSpPr/>
            <p:nvPr/>
          </p:nvSpPr>
          <p:spPr>
            <a:xfrm>
              <a:off x="4817056" y="3639948"/>
              <a:ext cx="1444292" cy="826389"/>
            </a:xfrm>
            <a:prstGeom prst="roundRect">
              <a:avLst>
                <a:gd name="adj" fmla="val 44330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spcAft>
                  <a:spcPts val="600"/>
                </a:spcAft>
              </a:pP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68 784,2</a:t>
              </a:r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  <a:p>
              <a:pPr indent="-398463" algn="ctr">
                <a:lnSpc>
                  <a:spcPts val="14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(108 семей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Tahoma" pitchFamily="34" charset="0"/>
                </a:rPr>
                <a:t>)</a:t>
              </a:r>
            </a:p>
          </p:txBody>
        </p:sp>
        <p:sp>
          <p:nvSpPr>
            <p:cNvPr id="17" name="Скругленный прямоугольник 16"/>
            <p:cNvSpPr/>
            <p:nvPr/>
          </p:nvSpPr>
          <p:spPr>
            <a:xfrm>
              <a:off x="4800324" y="5109778"/>
              <a:ext cx="1461022" cy="826389"/>
            </a:xfrm>
            <a:prstGeom prst="roundRect">
              <a:avLst>
                <a:gd name="adj" fmla="val 44330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</a:pPr>
              <a:endPara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Tahoma" pitchFamily="34" charset="0"/>
              </a:endParaRPr>
            </a:p>
          </p:txBody>
        </p:sp>
        <p:cxnSp>
          <p:nvCxnSpPr>
            <p:cNvPr id="18" name="Прямая соединительная линия 17"/>
            <p:cNvCxnSpPr/>
            <p:nvPr/>
          </p:nvCxnSpPr>
          <p:spPr>
            <a:xfrm>
              <a:off x="-286844" y="3309579"/>
              <a:ext cx="6713555" cy="0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-307766" y="4816028"/>
              <a:ext cx="6713555" cy="0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Правая фигурная скобка 19"/>
            <p:cNvSpPr/>
            <p:nvPr/>
          </p:nvSpPr>
          <p:spPr>
            <a:xfrm>
              <a:off x="6660232" y="2385328"/>
              <a:ext cx="360040" cy="3672000"/>
            </a:xfrm>
            <a:prstGeom prst="rightBrace">
              <a:avLst>
                <a:gd name="adj1" fmla="val 67254"/>
                <a:gd name="adj2" fmla="val 50000"/>
              </a:avLst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21" name="Picture 11" descr="5go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Картинки по запросу семья раскраски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1325" y="923925"/>
            <a:ext cx="2219325" cy="2898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Скругленный прямоугольник 22"/>
          <p:cNvSpPr>
            <a:spLocks noChangeAspect="1"/>
          </p:cNvSpPr>
          <p:nvPr/>
        </p:nvSpPr>
        <p:spPr>
          <a:xfrm>
            <a:off x="6753226" y="4010025"/>
            <a:ext cx="2200274" cy="1885950"/>
          </a:xfrm>
          <a:prstGeom prst="roundRect">
            <a:avLst>
              <a:gd name="adj" fmla="val 39146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76200" dist="76200" dir="2700000" algn="tl" rotWithShape="0">
              <a:prstClr val="black">
                <a:alpha val="36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 smtClean="0"/>
              <a:t>98 400,5</a:t>
            </a:r>
            <a:endParaRPr lang="ru-RU" sz="2400" b="1" dirty="0"/>
          </a:p>
          <a:p>
            <a:pPr algn="ctr"/>
            <a:r>
              <a:rPr lang="ru-RU" sz="2400" b="1" dirty="0" smtClean="0"/>
              <a:t>123 семьи</a:t>
            </a:r>
            <a:endParaRPr lang="ru-RU" sz="2400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1190624" y="295275"/>
            <a:ext cx="7953375" cy="67627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звитие физической культуры и спорта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pic>
        <p:nvPicPr>
          <p:cNvPr id="69636" name="Picture 4" descr="https://i.ytimg.com/vi/Os5m49VJdXc/maxresdefault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216500" y="2338387"/>
            <a:ext cx="3149376" cy="2376487"/>
          </a:xfrm>
          <a:prstGeom prst="rect">
            <a:avLst/>
          </a:prstGeom>
          <a:noFill/>
        </p:spPr>
      </p:pic>
      <p:grpSp>
        <p:nvGrpSpPr>
          <p:cNvPr id="8" name="Группа 11"/>
          <p:cNvGrpSpPr/>
          <p:nvPr/>
        </p:nvGrpSpPr>
        <p:grpSpPr>
          <a:xfrm>
            <a:off x="3200400" y="1505299"/>
            <a:ext cx="3143250" cy="1085501"/>
            <a:chOff x="323528" y="1114872"/>
            <a:chExt cx="1656184" cy="1099284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155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63134" y="1114872"/>
              <a:ext cx="1080120" cy="399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prstClr val="black"/>
                  </a:solidFill>
                  <a:latin typeface="+mn-lt"/>
                </a:rPr>
                <a:t>2020 </a:t>
              </a:r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0" y="1666876"/>
            <a:ext cx="3390900" cy="1771651"/>
            <a:chOff x="3425205" y="893253"/>
            <a:chExt cx="2448272" cy="1268176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5"/>
              </p:custDataLst>
            </p:nvPr>
          </p:nvSpPr>
          <p:spPr>
            <a:xfrm>
              <a:off x="3793390" y="1690976"/>
              <a:ext cx="1683378" cy="470453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,152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893253"/>
              <a:ext cx="2448272" cy="852580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деятельности Стадион Центральный</a:t>
              </a:r>
            </a:p>
          </p:txBody>
        </p:sp>
      </p:grpSp>
      <p:grpSp>
        <p:nvGrpSpPr>
          <p:cNvPr id="14" name="Группа 35"/>
          <p:cNvGrpSpPr/>
          <p:nvPr/>
        </p:nvGrpSpPr>
        <p:grpSpPr>
          <a:xfrm>
            <a:off x="0" y="3876675"/>
            <a:ext cx="3295650" cy="2114548"/>
            <a:chOff x="3425205" y="647800"/>
            <a:chExt cx="2448272" cy="1513628"/>
          </a:xfrm>
        </p:grpSpPr>
        <p:sp>
          <p:nvSpPr>
            <p:cNvPr id="15" name="Скругленный прямоугольник 14"/>
            <p:cNvSpPr/>
            <p:nvPr>
              <p:custDataLst>
                <p:tags r:id="rId4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76,991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6" name="AutoShape 32"/>
            <p:cNvSpPr>
              <a:spLocks noChangeArrowheads="1"/>
            </p:cNvSpPr>
            <p:nvPr/>
          </p:nvSpPr>
          <p:spPr bwMode="auto">
            <a:xfrm>
              <a:off x="3425205" y="647800"/>
              <a:ext cx="2448272" cy="1098034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Обеспечение деятельности  7 организаций спортивной подготовки</a:t>
              </a:r>
            </a:p>
          </p:txBody>
        </p:sp>
      </p:grpSp>
      <p:grpSp>
        <p:nvGrpSpPr>
          <p:cNvPr id="17" name="Группа 35"/>
          <p:cNvGrpSpPr/>
          <p:nvPr/>
        </p:nvGrpSpPr>
        <p:grpSpPr>
          <a:xfrm>
            <a:off x="6276975" y="1781175"/>
            <a:ext cx="2867025" cy="1924049"/>
            <a:chOff x="3556086" y="852344"/>
            <a:chExt cx="2317389" cy="1130064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3"/>
              </p:custDataLst>
            </p:nvPr>
          </p:nvSpPr>
          <p:spPr>
            <a:xfrm>
              <a:off x="3793390" y="160271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0,338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556086" y="852344"/>
              <a:ext cx="2317389" cy="738458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Реконструкция ДЮСШ №2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6115050" y="4057652"/>
            <a:ext cx="3028950" cy="1390648"/>
            <a:chOff x="3425205" y="1145525"/>
            <a:chExt cx="2448272" cy="995448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2"/>
              </p:custDataLst>
            </p:nvPr>
          </p:nvSpPr>
          <p:spPr>
            <a:xfrm>
              <a:off x="4041122" y="1761281"/>
              <a:ext cx="1443344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425205" y="1145525"/>
              <a:ext cx="2448272" cy="60030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Поддержка футбола</a:t>
              </a:r>
            </a:p>
          </p:txBody>
        </p:sp>
      </p:grpSp>
      <p:grpSp>
        <p:nvGrpSpPr>
          <p:cNvPr id="23" name="Группа 35"/>
          <p:cNvGrpSpPr/>
          <p:nvPr/>
        </p:nvGrpSpPr>
        <p:grpSpPr>
          <a:xfrm>
            <a:off x="2943222" y="4705349"/>
            <a:ext cx="3829051" cy="1895476"/>
            <a:chOff x="3400158" y="1100649"/>
            <a:chExt cx="2517150" cy="1060779"/>
          </a:xfrm>
        </p:grpSpPr>
        <p:sp>
          <p:nvSpPr>
            <p:cNvPr id="24" name="Скругленный прямоугольник 23"/>
            <p:cNvSpPr/>
            <p:nvPr>
              <p:custDataLst>
                <p:tags r:id="rId1"/>
              </p:custDataLst>
            </p:nvPr>
          </p:nvSpPr>
          <p:spPr>
            <a:xfrm>
              <a:off x="4006283" y="1857587"/>
              <a:ext cx="1504024" cy="30384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5,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5" name="AutoShape 32"/>
            <p:cNvSpPr>
              <a:spLocks noChangeArrowheads="1"/>
            </p:cNvSpPr>
            <p:nvPr/>
          </p:nvSpPr>
          <p:spPr bwMode="auto">
            <a:xfrm>
              <a:off x="3400158" y="1100649"/>
              <a:ext cx="2517150" cy="781545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Физкультурно-оздоровительные, спортивно-массовые мероприятия</a:t>
              </a:r>
            </a:p>
          </p:txBody>
        </p:sp>
      </p:grpSp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7871637" y="9741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 txBox="1">
            <a:spLocks/>
          </p:cNvSpPr>
          <p:nvPr/>
        </p:nvSpPr>
        <p:spPr>
          <a:xfrm>
            <a:off x="971550" y="295275"/>
            <a:ext cx="8172450" cy="676275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охранение и развитие культуры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</p:txBody>
      </p:sp>
      <p:pic>
        <p:nvPicPr>
          <p:cNvPr id="5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11"/>
          <p:cNvGrpSpPr/>
          <p:nvPr/>
        </p:nvGrpSpPr>
        <p:grpSpPr>
          <a:xfrm>
            <a:off x="3486150" y="1505299"/>
            <a:ext cx="2590799" cy="1085501"/>
            <a:chOff x="323528" y="1114872"/>
            <a:chExt cx="1656184" cy="1099284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323528" y="1638092"/>
              <a:ext cx="1656184" cy="576064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684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663134" y="1114872"/>
              <a:ext cx="1080120" cy="399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prstClr val="black"/>
                  </a:solidFill>
                  <a:latin typeface="+mn-lt"/>
                </a:rPr>
                <a:t>2020 </a:t>
              </a:r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pic>
        <p:nvPicPr>
          <p:cNvPr id="1028" name="Picture 4" descr="https://riastrela.ru/uploads/galleries/15974/inner/huaxfjbc58nia8gwph84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89326" y="2568103"/>
            <a:ext cx="2568574" cy="2253225"/>
          </a:xfrm>
          <a:prstGeom prst="rect">
            <a:avLst/>
          </a:prstGeom>
          <a:noFill/>
        </p:spPr>
      </p:pic>
      <p:grpSp>
        <p:nvGrpSpPr>
          <p:cNvPr id="11" name="Группа 35"/>
          <p:cNvGrpSpPr/>
          <p:nvPr/>
        </p:nvGrpSpPr>
        <p:grpSpPr>
          <a:xfrm>
            <a:off x="0" y="1771650"/>
            <a:ext cx="3390900" cy="1457324"/>
            <a:chOff x="3425205" y="1278285"/>
            <a:chExt cx="2448272" cy="883143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5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9,058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Библиотечное обслуживание</a:t>
              </a:r>
            </a:p>
          </p:txBody>
        </p:sp>
      </p:grpSp>
      <p:grpSp>
        <p:nvGrpSpPr>
          <p:cNvPr id="14" name="Группа 20"/>
          <p:cNvGrpSpPr/>
          <p:nvPr/>
        </p:nvGrpSpPr>
        <p:grpSpPr>
          <a:xfrm>
            <a:off x="0" y="3867149"/>
            <a:ext cx="3409949" cy="1866900"/>
            <a:chOff x="206082" y="2913496"/>
            <a:chExt cx="2448272" cy="793192"/>
          </a:xfrm>
        </p:grpSpPr>
        <p:sp>
          <p:nvSpPr>
            <p:cNvPr id="15" name="Скругленный прямоугольник 14"/>
            <p:cNvSpPr/>
            <p:nvPr>
              <p:custDataLst>
                <p:tags r:id="rId4"/>
              </p:custDataLst>
            </p:nvPr>
          </p:nvSpPr>
          <p:spPr>
            <a:xfrm>
              <a:off x="595891" y="3400107"/>
              <a:ext cx="1743221" cy="306581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0,974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6" name="AutoShape 32"/>
            <p:cNvSpPr>
              <a:spLocks noChangeArrowheads="1"/>
            </p:cNvSpPr>
            <p:nvPr/>
          </p:nvSpPr>
          <p:spPr bwMode="auto">
            <a:xfrm>
              <a:off x="206082" y="2913496"/>
              <a:ext cx="2448272" cy="474543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dirty="0" smtClean="0">
                  <a:latin typeface="+mj-lt"/>
                </a:rPr>
                <a:t>Укрепление фундамента «Здания городской Думы, где выступал с докладом С.М. Киров в 1918 году»</a:t>
              </a:r>
            </a:p>
          </p:txBody>
        </p:sp>
      </p:grpSp>
      <p:grpSp>
        <p:nvGrpSpPr>
          <p:cNvPr id="17" name="Группа 35"/>
          <p:cNvGrpSpPr/>
          <p:nvPr/>
        </p:nvGrpSpPr>
        <p:grpSpPr>
          <a:xfrm>
            <a:off x="6124575" y="2076450"/>
            <a:ext cx="2876550" cy="1457324"/>
            <a:chOff x="3425205" y="1278285"/>
            <a:chExt cx="2448272" cy="883143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3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585,8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Музей «Россия моя история»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6229351" y="4067175"/>
            <a:ext cx="2914649" cy="1457324"/>
            <a:chOff x="3425205" y="1278285"/>
            <a:chExt cx="2448272" cy="883143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2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35,066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Услуги культурно -досуговых  учреждений</a:t>
              </a:r>
            </a:p>
          </p:txBody>
        </p:sp>
      </p:grpSp>
      <p:grpSp>
        <p:nvGrpSpPr>
          <p:cNvPr id="23" name="Группа 35"/>
          <p:cNvGrpSpPr/>
          <p:nvPr/>
        </p:nvGrpSpPr>
        <p:grpSpPr>
          <a:xfrm>
            <a:off x="3362326" y="5029201"/>
            <a:ext cx="2914649" cy="1457324"/>
            <a:chOff x="3425205" y="1278285"/>
            <a:chExt cx="2448272" cy="883143"/>
          </a:xfrm>
        </p:grpSpPr>
        <p:sp>
          <p:nvSpPr>
            <p:cNvPr id="24" name="Скругленный прямоугольник 23"/>
            <p:cNvSpPr/>
            <p:nvPr>
              <p:custDataLst>
                <p:tags r:id="rId1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,980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5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latin typeface="+mj-lt"/>
                </a:rPr>
                <a:t>Культурно-массовые мероприятия</a:t>
              </a:r>
            </a:p>
          </p:txBody>
        </p:sp>
      </p:grpSp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7871637" y="99320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733426" y="304597"/>
            <a:ext cx="8410574" cy="1078173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Развитие инфраструктуры, поддержка </a:t>
            </a:r>
            <a:r>
              <a:rPr lang="ru-RU" sz="2800" b="1" kern="0" spc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отраслей экономики </a:t>
            </a: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 и безопасность </a:t>
            </a:r>
            <a:endParaRPr lang="ru-RU" sz="2800" b="1" kern="0" spc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</a:endParaRP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 в 2020 году</a:t>
            </a:r>
            <a:endParaRPr lang="ru-RU" sz="2800" b="1" dirty="0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80934945"/>
              </p:ext>
            </p:extLst>
          </p:nvPr>
        </p:nvGraphicFramePr>
        <p:xfrm>
          <a:off x="-304800" y="2351222"/>
          <a:ext cx="4695825" cy="4506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410893" y="1477819"/>
            <a:ext cx="2457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 том числе:</a:t>
            </a:r>
            <a:endParaRPr lang="ru-RU" b="1" dirty="0">
              <a:solidFill>
                <a:schemeClr val="bg1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Штриховая стрелка вправо 27"/>
          <p:cNvSpPr/>
          <p:nvPr/>
        </p:nvSpPr>
        <p:spPr>
          <a:xfrm rot="16200000">
            <a:off x="588701" y="1487751"/>
            <a:ext cx="1546754" cy="2324102"/>
          </a:xfrm>
          <a:prstGeom prst="stripedRightArrow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-</a:t>
            </a: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533400" y="2190750"/>
            <a:ext cx="114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+154,4</a:t>
            </a:r>
            <a:endParaRPr lang="ru-RU" sz="24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981700" y="1554019"/>
            <a:ext cx="2457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 Cyr" panose="020B0604020202020204" pitchFamily="34" charset="0"/>
                <a:cs typeface="Arial Cyr" panose="020B0604020202020204" pitchFamily="34" charset="0"/>
              </a:rPr>
              <a:t>в том числе:</a:t>
            </a:r>
            <a:endParaRPr lang="ru-RU" b="1" dirty="0">
              <a:solidFill>
                <a:srgbClr val="002060"/>
              </a:solidFill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7871637" y="10027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4" name="Диаграмма 13"/>
          <p:cNvGraphicFramePr/>
          <p:nvPr/>
        </p:nvGraphicFramePr>
        <p:xfrm>
          <a:off x="3543301" y="1952624"/>
          <a:ext cx="5600700" cy="4638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9520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Диаграмма 32"/>
          <p:cNvGraphicFramePr/>
          <p:nvPr/>
        </p:nvGraphicFramePr>
        <p:xfrm>
          <a:off x="5048250" y="1085850"/>
          <a:ext cx="3886200" cy="289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Скругленный прямоугольник 30"/>
          <p:cNvSpPr/>
          <p:nvPr/>
        </p:nvSpPr>
        <p:spPr>
          <a:xfrm>
            <a:off x="4181475" y="5161781"/>
            <a:ext cx="5086350" cy="586580"/>
          </a:xfrm>
          <a:prstGeom prst="roundRect">
            <a:avLst>
              <a:gd name="adj" fmla="val 50000"/>
            </a:avLst>
          </a:prstGeom>
          <a:solidFill>
            <a:srgbClr val="F5B7B1">
              <a:alpha val="45000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>
              <a:lnSpc>
                <a:spcPts val="1800"/>
              </a:lnSpc>
              <a:defRPr/>
            </a:pPr>
            <a:r>
              <a:rPr lang="ru-RU" sz="1400" dirty="0">
                <a:solidFill>
                  <a:schemeClr val="tx1"/>
                </a:solidFill>
              </a:rPr>
              <a:t>Строительство, </a:t>
            </a:r>
            <a:r>
              <a:rPr lang="ru-RU" sz="1400" dirty="0" smtClean="0">
                <a:solidFill>
                  <a:schemeClr val="tx1"/>
                </a:solidFill>
              </a:rPr>
              <a:t>реконструкция, ремонт </a:t>
            </a:r>
            <a:r>
              <a:rPr lang="ru-RU" sz="1400" dirty="0">
                <a:solidFill>
                  <a:schemeClr val="tx1"/>
                </a:solidFill>
              </a:rPr>
              <a:t>и содержание </a:t>
            </a:r>
            <a:r>
              <a:rPr lang="ru-RU" sz="1400" dirty="0" smtClean="0">
                <a:solidFill>
                  <a:schemeClr val="tx1"/>
                </a:solidFill>
              </a:rPr>
              <a:t>дорог</a:t>
            </a:r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>
          <a:xfrm>
            <a:off x="1182687" y="353047"/>
            <a:ext cx="7961313" cy="771726"/>
          </a:xfrm>
          <a:prstGeom prst="rect">
            <a:avLst/>
          </a:prstGeom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</a:rPr>
              <a:t>Структура дорожного фонда города Пятигорска</a:t>
            </a:r>
          </a:p>
        </p:txBody>
      </p:sp>
      <p:sp>
        <p:nvSpPr>
          <p:cNvPr id="12" name="TextBox 11"/>
          <p:cNvSpPr txBox="1"/>
          <p:nvPr/>
        </p:nvSpPr>
        <p:spPr>
          <a:xfrm rot="321410">
            <a:off x="345078" y="5159686"/>
            <a:ext cx="4082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7871637" y="99320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11" name="Содержимое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3617857"/>
              </p:ext>
            </p:extLst>
          </p:nvPr>
        </p:nvGraphicFramePr>
        <p:xfrm>
          <a:off x="-514350" y="3848100"/>
          <a:ext cx="5438775" cy="3143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29347" y="4235736"/>
            <a:ext cx="6946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36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72323" y="3997611"/>
            <a:ext cx="7612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45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315297" y="3969036"/>
            <a:ext cx="6755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46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258272" y="3835686"/>
            <a:ext cx="6946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52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graphicFrame>
        <p:nvGraphicFramePr>
          <p:cNvPr id="17" name="Диаграмма 16"/>
          <p:cNvGraphicFramePr/>
          <p:nvPr/>
        </p:nvGraphicFramePr>
        <p:xfrm>
          <a:off x="-438149" y="1857375"/>
          <a:ext cx="5534023" cy="150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171450" y="1438275"/>
            <a:ext cx="487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Субсидии краевого дорожного фонда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296025" y="2438400"/>
            <a:ext cx="13620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275,1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4219574" y="3857625"/>
            <a:ext cx="4924426" cy="3000375"/>
            <a:chOff x="1814002" y="2214342"/>
            <a:chExt cx="7446259" cy="3646196"/>
          </a:xfrm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1863188" y="5258626"/>
              <a:ext cx="7236000" cy="601912"/>
            </a:xfrm>
            <a:prstGeom prst="roundRect">
              <a:avLst>
                <a:gd name="adj" fmla="val 46066"/>
              </a:avLst>
            </a:prstGeom>
            <a:solidFill>
              <a:srgbClr val="83AEE1">
                <a:alpha val="48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>
                <a:lnSpc>
                  <a:spcPts val="1800"/>
                </a:lnSpc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Диагностика, обследование и паспортизация дорог</a:t>
              </a:r>
            </a:p>
          </p:txBody>
        </p:sp>
        <p:sp>
          <p:nvSpPr>
            <p:cNvPr id="23" name="Скругленный прямоугольник 22"/>
            <p:cNvSpPr/>
            <p:nvPr/>
          </p:nvSpPr>
          <p:spPr>
            <a:xfrm>
              <a:off x="1904629" y="4578326"/>
              <a:ext cx="7213502" cy="540060"/>
            </a:xfrm>
            <a:prstGeom prst="roundRect">
              <a:avLst>
                <a:gd name="adj" fmla="val 50000"/>
              </a:avLst>
            </a:prstGeom>
            <a:solidFill>
              <a:srgbClr val="83AEE1">
                <a:alpha val="48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>
                <a:lnSpc>
                  <a:spcPts val="2100"/>
                </a:lnSpc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Ремонт, сооружение, очистка ливневых канализаций</a:t>
              </a:r>
            </a:p>
          </p:txBody>
        </p:sp>
        <p:sp>
          <p:nvSpPr>
            <p:cNvPr id="24" name="Скругленный прямоугольник 23"/>
            <p:cNvSpPr/>
            <p:nvPr/>
          </p:nvSpPr>
          <p:spPr>
            <a:xfrm>
              <a:off x="1814002" y="2214342"/>
              <a:ext cx="7446257" cy="64807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49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>
                <a:lnSpc>
                  <a:spcPts val="1800"/>
                </a:lnSpc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Ремонт дорог местного значения по наказам избирателей </a:t>
              </a:r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1882130" y="2930449"/>
              <a:ext cx="7378131" cy="586580"/>
            </a:xfrm>
            <a:prstGeom prst="roundRect">
              <a:avLst>
                <a:gd name="adj" fmla="val 50000"/>
              </a:avLst>
            </a:prstGeom>
            <a:solidFill>
              <a:srgbClr val="F5B7B1">
                <a:alpha val="45000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48000" rIns="144000" rtlCol="0" anchor="ctr"/>
            <a:lstStyle/>
            <a:p>
              <a:pPr>
                <a:lnSpc>
                  <a:spcPts val="2100"/>
                </a:lnSpc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Повышение безопасности дорожного движения</a:t>
              </a: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1904629" y="2286378"/>
              <a:ext cx="1476374" cy="504000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16,5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7" name="Скругленный прямоугольник 26"/>
            <p:cNvSpPr/>
            <p:nvPr/>
          </p:nvSpPr>
          <p:spPr>
            <a:xfrm>
              <a:off x="1992641" y="2948588"/>
              <a:ext cx="1476374" cy="504001"/>
            </a:xfrm>
            <a:prstGeom prst="roundRect">
              <a:avLst>
                <a:gd name="adj" fmla="val 50000"/>
              </a:avLst>
            </a:prstGeom>
            <a:solidFill>
              <a:srgbClr val="F5B7B1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7,2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8" name="Скругленный прямоугольник 27"/>
            <p:cNvSpPr/>
            <p:nvPr/>
          </p:nvSpPr>
          <p:spPr>
            <a:xfrm>
              <a:off x="1904629" y="4596355"/>
              <a:ext cx="1476375" cy="504000"/>
            </a:xfrm>
            <a:prstGeom prst="roundRect">
              <a:avLst>
                <a:gd name="adj" fmla="val 50000"/>
              </a:avLst>
            </a:prstGeom>
            <a:solidFill>
              <a:srgbClr val="83AEE1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3,6</a:t>
              </a:r>
              <a:endParaRPr lang="ru-RU" sz="26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1904629" y="5342761"/>
              <a:ext cx="1476375" cy="504000"/>
            </a:xfrm>
            <a:prstGeom prst="roundRect">
              <a:avLst>
                <a:gd name="adj" fmla="val 50000"/>
              </a:avLst>
            </a:prstGeom>
            <a:solidFill>
              <a:srgbClr val="83AEE1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0,1</a:t>
              </a:r>
              <a:endParaRPr lang="ru-RU" sz="26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0" name="Скругленный прямоугольник 29"/>
            <p:cNvSpPr/>
            <p:nvPr/>
          </p:nvSpPr>
          <p:spPr>
            <a:xfrm>
              <a:off x="2035851" y="3887155"/>
              <a:ext cx="1476374" cy="504001"/>
            </a:xfrm>
            <a:prstGeom prst="roundRect">
              <a:avLst>
                <a:gd name="adj" fmla="val 50000"/>
              </a:avLst>
            </a:prstGeom>
            <a:solidFill>
              <a:srgbClr val="F5B7B1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180000" rtlCol="0"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Tahoma" pitchFamily="34" charset="0"/>
                  <a:cs typeface="Tahoma" pitchFamily="34" charset="0"/>
                </a:rPr>
                <a:t>247,7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0" y="3371850"/>
            <a:ext cx="487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Муниципальный дорожный фонд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065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26</a:t>
            </a:fld>
            <a:endParaRPr lang="ru-RU"/>
          </a:p>
        </p:txBody>
      </p:sp>
      <p:pic>
        <p:nvPicPr>
          <p:cNvPr id="3" name="Picture 12" descr="https://imageog.flaticon.com/icons/png/512/353/353778.png?size=1200x630f&amp;pad=10,10,10,10&amp;ext=png&amp;bg=FFFFFFFF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776" y="1866899"/>
            <a:ext cx="2427937" cy="1762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1"/>
          <p:cNvSpPr txBox="1">
            <a:spLocks/>
          </p:cNvSpPr>
          <p:nvPr/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600" b="1" kern="120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6666E84-CA21-407A-9098-B0529236DD86}" type="slidenum">
              <a:rPr lang="ru-RU" smtClean="0"/>
              <a:pPr/>
              <a:t>26</a:t>
            </a:fld>
            <a:endParaRPr lang="ru-RU"/>
          </a:p>
        </p:txBody>
      </p:sp>
      <p:graphicFrame>
        <p:nvGraphicFramePr>
          <p:cNvPr id="5" name="Содержимое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0627212"/>
              </p:ext>
            </p:extLst>
          </p:nvPr>
        </p:nvGraphicFramePr>
        <p:xfrm>
          <a:off x="-523875" y="3105149"/>
          <a:ext cx="10220325" cy="3752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6" name="Группа 5"/>
          <p:cNvGrpSpPr/>
          <p:nvPr/>
        </p:nvGrpSpPr>
        <p:grpSpPr>
          <a:xfrm>
            <a:off x="1" y="1434944"/>
            <a:ext cx="9143999" cy="2327431"/>
            <a:chOff x="397730" y="4675203"/>
            <a:chExt cx="3477568" cy="1012682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397730" y="4954536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20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397730" y="5151429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9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397730" y="5336785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8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397730" y="5522141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7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1" name="Скругленный прямоугольник 10"/>
            <p:cNvSpPr/>
            <p:nvPr/>
          </p:nvSpPr>
          <p:spPr>
            <a:xfrm>
              <a:off x="708079" y="4957128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rgbClr val="FF993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2000" b="1" dirty="0" smtClean="0">
                  <a:solidFill>
                    <a:schemeClr val="tx1"/>
                  </a:solidFill>
                  <a:cs typeface="Tahoma" pitchFamily="34" charset="0"/>
                </a:rPr>
                <a:t>83,8</a:t>
              </a:r>
              <a:endParaRPr lang="ru-RU" sz="2000" b="1" dirty="0">
                <a:solidFill>
                  <a:schemeClr val="tx1"/>
                </a:solidFill>
                <a:cs typeface="Tahoma" pitchFamily="34" charset="0"/>
              </a:endParaRPr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>
              <a:off x="708079" y="5145731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rgbClr val="FF993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2000" b="1" dirty="0" smtClean="0">
                  <a:solidFill>
                    <a:schemeClr val="tx1"/>
                  </a:solidFill>
                  <a:cs typeface="Tahoma" pitchFamily="34" charset="0"/>
                </a:rPr>
                <a:t>113,1</a:t>
              </a:r>
              <a:endParaRPr lang="ru-RU" sz="2000" b="1" dirty="0">
                <a:solidFill>
                  <a:schemeClr val="tx1"/>
                </a:solidFill>
                <a:cs typeface="Tahoma" pitchFamily="34" charset="0"/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708079" y="5339376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rgbClr val="FF993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2000" b="1" dirty="0" smtClean="0">
                  <a:solidFill>
                    <a:schemeClr val="tx1"/>
                  </a:solidFill>
                  <a:cs typeface="Tahoma" pitchFamily="34" charset="0"/>
                </a:rPr>
                <a:t>82,5</a:t>
              </a:r>
              <a:endParaRPr lang="ru-RU" sz="2000" b="1" dirty="0">
                <a:solidFill>
                  <a:schemeClr val="tx1"/>
                </a:solidFill>
                <a:cs typeface="Tahoma" pitchFamily="34" charset="0"/>
              </a:endParaRP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708079" y="5524733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rgbClr val="FF993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2000" b="1" dirty="0" smtClean="0">
                  <a:solidFill>
                    <a:schemeClr val="tx1"/>
                  </a:solidFill>
                  <a:cs typeface="Tahoma" pitchFamily="34" charset="0"/>
                </a:rPr>
                <a:t>63,2</a:t>
              </a:r>
              <a:endParaRPr lang="ru-RU" sz="2000" b="1" dirty="0">
                <a:solidFill>
                  <a:schemeClr val="tx1"/>
                </a:solidFill>
                <a:cs typeface="Tahoma" pitchFamily="34" charset="0"/>
              </a:endParaRPr>
            </a:p>
          </p:txBody>
        </p:sp>
        <p:sp>
          <p:nvSpPr>
            <p:cNvPr id="15" name="Скругленный прямоугольник 14"/>
            <p:cNvSpPr/>
            <p:nvPr/>
          </p:nvSpPr>
          <p:spPr>
            <a:xfrm>
              <a:off x="1210510" y="4954536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2000" b="1" dirty="0" smtClean="0">
                  <a:solidFill>
                    <a:schemeClr val="tx1"/>
                  </a:solidFill>
                  <a:cs typeface="Tahoma" pitchFamily="34" charset="0"/>
                </a:rPr>
                <a:t>61,3</a:t>
              </a:r>
              <a:endParaRPr lang="ru-RU" sz="2000" b="1" dirty="0">
                <a:solidFill>
                  <a:schemeClr val="tx1"/>
                </a:solidFill>
                <a:cs typeface="Tahoma" pitchFamily="34" charset="0"/>
              </a:endParaRPr>
            </a:p>
          </p:txBody>
        </p:sp>
        <p:sp>
          <p:nvSpPr>
            <p:cNvPr id="16" name="Скругленный прямоугольник 15"/>
            <p:cNvSpPr/>
            <p:nvPr/>
          </p:nvSpPr>
          <p:spPr>
            <a:xfrm>
              <a:off x="1212455" y="5151115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2000" b="1" dirty="0" smtClean="0">
                  <a:solidFill>
                    <a:schemeClr val="tx1"/>
                  </a:solidFill>
                  <a:cs typeface="Tahoma" pitchFamily="34" charset="0"/>
                </a:rPr>
                <a:t>121,8</a:t>
              </a:r>
              <a:endParaRPr lang="ru-RU" sz="2000" b="1" dirty="0">
                <a:solidFill>
                  <a:schemeClr val="tx1"/>
                </a:solidFill>
                <a:cs typeface="Tahoma" pitchFamily="34" charset="0"/>
              </a:endParaRPr>
            </a:p>
          </p:txBody>
        </p:sp>
        <p:sp>
          <p:nvSpPr>
            <p:cNvPr id="17" name="Скругленный прямоугольник 16"/>
            <p:cNvSpPr/>
            <p:nvPr/>
          </p:nvSpPr>
          <p:spPr>
            <a:xfrm>
              <a:off x="1210510" y="5327177"/>
              <a:ext cx="468000" cy="161924"/>
            </a:xfrm>
            <a:prstGeom prst="roundRect">
              <a:avLst>
                <a:gd name="adj" fmla="val 32849"/>
              </a:avLst>
            </a:prstGeom>
            <a:solidFill>
              <a:srgbClr val="A5C4E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indent="-398463" algn="ctr">
                <a:lnSpc>
                  <a:spcPts val="1400"/>
                </a:lnSpc>
                <a:defRPr/>
              </a:pPr>
              <a:r>
                <a:rPr lang="ru-RU" sz="2000" b="1" dirty="0" smtClean="0">
                  <a:solidFill>
                    <a:schemeClr val="tx1"/>
                  </a:solidFill>
                  <a:cs typeface="Tahoma" pitchFamily="34" charset="0"/>
                </a:rPr>
                <a:t>71,7</a:t>
              </a:r>
              <a:endParaRPr lang="ru-RU" sz="2000" b="1" dirty="0">
                <a:solidFill>
                  <a:schemeClr val="tx1"/>
                </a:solidFill>
                <a:cs typeface="Tahoma" pitchFamily="34" charset="0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481046" y="4675203"/>
              <a:ext cx="601330" cy="207570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fontAlgn="t">
                <a:lnSpc>
                  <a:spcPts val="1000"/>
                </a:lnSpc>
              </a:pPr>
              <a:r>
                <a:rPr lang="ru-RU" sz="1400" b="1" dirty="0" smtClean="0">
                  <a:latin typeface="+mn-lt"/>
                </a:rPr>
                <a:t>Формирование городской среды</a:t>
              </a:r>
              <a:endParaRPr lang="ru-RU" sz="1400" b="1" dirty="0">
                <a:latin typeface="+mn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1064264" y="4691486"/>
              <a:ext cx="655666" cy="14061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fontAlgn="t">
                <a:lnSpc>
                  <a:spcPts val="900"/>
                </a:lnSpc>
              </a:pPr>
              <a:r>
                <a:rPr lang="ru-RU" sz="1400" b="1" dirty="0" smtClean="0">
                  <a:latin typeface="+mn-lt"/>
                </a:rPr>
                <a:t>Благоустройство</a:t>
              </a:r>
            </a:p>
            <a:p>
              <a:pPr algn="ctr" fontAlgn="t">
                <a:lnSpc>
                  <a:spcPts val="900"/>
                </a:lnSpc>
              </a:pPr>
              <a:r>
                <a:rPr lang="ru-RU" sz="1400" b="1" dirty="0" smtClean="0">
                  <a:latin typeface="+mn-lt"/>
                </a:rPr>
                <a:t> </a:t>
              </a:r>
              <a:r>
                <a:rPr lang="ru-RU" sz="1400" b="1" dirty="0">
                  <a:latin typeface="+mn-lt"/>
                </a:rPr>
                <a:t>парков, </a:t>
              </a:r>
              <a:r>
                <a:rPr lang="ru-RU" sz="1400" b="1" dirty="0" smtClean="0">
                  <a:latin typeface="+mn-lt"/>
                </a:rPr>
                <a:t>скверов</a:t>
              </a:r>
              <a:endParaRPr lang="ru-RU" sz="1400" b="1" dirty="0">
                <a:latin typeface="+mn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3616674" y="4757911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20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616674" y="5010978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9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3616674" y="5267635"/>
              <a:ext cx="258624" cy="1657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r" fontAlgn="t">
                <a:lnSpc>
                  <a:spcPts val="1200"/>
                </a:lnSpc>
              </a:pPr>
              <a:r>
                <a:rPr lang="ru-RU" sz="1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18</a:t>
              </a:r>
              <a:endPara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4" name="Скругленный прямоугольник 23"/>
          <p:cNvSpPr/>
          <p:nvPr/>
        </p:nvSpPr>
        <p:spPr>
          <a:xfrm>
            <a:off x="7203591" y="1657350"/>
            <a:ext cx="1160945" cy="438150"/>
          </a:xfrm>
          <a:prstGeom prst="roundRect">
            <a:avLst>
              <a:gd name="adj" fmla="val 32849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400"/>
              </a:lnSpc>
              <a:defRPr/>
            </a:pPr>
            <a:r>
              <a:rPr lang="ru-RU" sz="2000" b="1" dirty="0" smtClean="0">
                <a:solidFill>
                  <a:schemeClr val="tx1"/>
                </a:solidFill>
                <a:cs typeface="Tahoma" pitchFamily="34" charset="0"/>
              </a:rPr>
              <a:t>41,40</a:t>
            </a:r>
            <a:endParaRPr lang="ru-RU" sz="2000" b="1" dirty="0">
              <a:solidFill>
                <a:schemeClr val="tx1"/>
              </a:solidFill>
              <a:cs typeface="Tahoma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7222642" y="2176825"/>
            <a:ext cx="1160945" cy="452075"/>
          </a:xfrm>
          <a:prstGeom prst="roundRect">
            <a:avLst>
              <a:gd name="adj" fmla="val 32849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400"/>
              </a:lnSpc>
              <a:defRPr/>
            </a:pPr>
            <a:r>
              <a:rPr lang="ru-RU" sz="2000" b="1" dirty="0" smtClean="0">
                <a:solidFill>
                  <a:schemeClr val="tx1"/>
                </a:solidFill>
                <a:cs typeface="Tahoma" pitchFamily="34" charset="0"/>
              </a:rPr>
              <a:t>46,16</a:t>
            </a:r>
            <a:endParaRPr lang="ru-RU" sz="2000" b="1" dirty="0">
              <a:solidFill>
                <a:schemeClr val="tx1"/>
              </a:solidFill>
              <a:cs typeface="Tahoma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232167" y="2694403"/>
            <a:ext cx="1160945" cy="505997"/>
          </a:xfrm>
          <a:prstGeom prst="roundRect">
            <a:avLst>
              <a:gd name="adj" fmla="val 32849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400"/>
              </a:lnSpc>
              <a:defRPr/>
            </a:pPr>
            <a:r>
              <a:rPr lang="ru-RU" sz="2000" b="1" dirty="0" smtClean="0">
                <a:solidFill>
                  <a:schemeClr val="tx1"/>
                </a:solidFill>
                <a:cs typeface="Tahoma" pitchFamily="34" charset="0"/>
              </a:rPr>
              <a:t>36,98</a:t>
            </a:r>
            <a:endParaRPr lang="ru-RU" sz="2000" b="1" dirty="0">
              <a:solidFill>
                <a:schemeClr val="tx1"/>
              </a:solidFill>
              <a:cs typeface="Tahoma" pitchFamily="34" charset="0"/>
            </a:endParaRPr>
          </a:p>
        </p:txBody>
      </p:sp>
      <p:pic>
        <p:nvPicPr>
          <p:cNvPr id="27" name="Picture 2" descr="https://t3.ftcdn.net/jpg/02/33/01/74/500_F_233017400_lL7agPxvljzcdpKeUZS64tFhbHgPYjhA.jpg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8" t="6852" r="9482" b="7438"/>
          <a:stretch/>
        </p:blipFill>
        <p:spPr bwMode="auto">
          <a:xfrm>
            <a:off x="5392663" y="1971674"/>
            <a:ext cx="1789187" cy="1666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7010776" y="1343621"/>
            <a:ext cx="19894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+mn-lt"/>
                <a:cs typeface="Times New Roman" pitchFamily="18" charset="0"/>
              </a:rPr>
              <a:t>Курортный сбор</a:t>
            </a:r>
            <a:endParaRPr lang="ru-RU" sz="1400" b="1" dirty="0">
              <a:latin typeface="+mn-lt"/>
              <a:cs typeface="Times New Roman" pitchFamily="18" charset="0"/>
            </a:endParaRPr>
          </a:p>
        </p:txBody>
      </p:sp>
      <p:sp>
        <p:nvSpPr>
          <p:cNvPr id="29" name="AutoShape 6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0" name="AutoShape 8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1" name="AutoShape 10" descr="https://www.clipartmax.com/png/full/117-1170268_environment-icon-png.pn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2" name="Picture 11" descr="5gor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3824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Заголовок 2"/>
          <p:cNvSpPr txBox="1">
            <a:spLocks/>
          </p:cNvSpPr>
          <p:nvPr/>
        </p:nvSpPr>
        <p:spPr>
          <a:xfrm>
            <a:off x="1182687" y="123825"/>
            <a:ext cx="7961313" cy="1085850"/>
          </a:xfrm>
          <a:prstGeom prst="rect">
            <a:avLst/>
          </a:prstGeom>
          <a:solidFill>
            <a:srgbClr val="99CCFF"/>
          </a:solidFill>
          <a:ln w="6350" cap="rnd">
            <a:noFill/>
          </a:ln>
        </p:spPr>
        <p:txBody>
          <a:bodyPr vert="horz" rtlCol="0" anchor="ctr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alt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Благоустройство</a:t>
            </a:r>
            <a:endParaRPr lang="ru-RU" sz="2800" b="1" kern="0" spc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/>
              <a:cs typeface="Arial"/>
            </a:endParaRPr>
          </a:p>
        </p:txBody>
      </p:sp>
      <p:grpSp>
        <p:nvGrpSpPr>
          <p:cNvPr id="33" name="Группа 11"/>
          <p:cNvGrpSpPr/>
          <p:nvPr/>
        </p:nvGrpSpPr>
        <p:grpSpPr>
          <a:xfrm>
            <a:off x="3371850" y="1028699"/>
            <a:ext cx="3781425" cy="933451"/>
            <a:chOff x="323528" y="1114872"/>
            <a:chExt cx="1656184" cy="991511"/>
          </a:xfrm>
        </p:grpSpPr>
        <p:sp>
          <p:nvSpPr>
            <p:cNvPr id="35" name="Прямоугольник 34"/>
            <p:cNvSpPr/>
            <p:nvPr/>
          </p:nvSpPr>
          <p:spPr>
            <a:xfrm>
              <a:off x="323528" y="1638092"/>
              <a:ext cx="1656184" cy="468291"/>
            </a:xfrm>
            <a:prstGeom prst="rect">
              <a:avLst/>
            </a:prstGeom>
            <a:solidFill>
              <a:srgbClr val="FFC000">
                <a:alpha val="96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defRPr sz="1200" b="1" i="0" u="none" strike="noStrike" kern="1200" baseline="0">
                  <a:solidFill>
                    <a:prstClr val="black"/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4000" b="1" dirty="0" smtClean="0">
                  <a:solidFill>
                    <a:schemeClr val="tx1"/>
                  </a:solidFill>
                  <a:ea typeface="Tahoma" pitchFamily="34" charset="0"/>
                  <a:cs typeface="Tahoma" pitchFamily="34" charset="0"/>
                </a:rPr>
                <a:t>436,2</a:t>
              </a:r>
              <a:endParaRPr lang="ru-RU" sz="40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63134" y="1114872"/>
              <a:ext cx="1080120" cy="399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prstClr val="black"/>
                  </a:solidFill>
                  <a:latin typeface="+mn-lt"/>
                </a:rPr>
                <a:t>2020 </a:t>
              </a:r>
              <a:r>
                <a:rPr lang="ru-RU" sz="2800" b="1" dirty="0" smtClean="0">
                  <a:solidFill>
                    <a:prstClr val="black"/>
                  </a:solidFill>
                  <a:latin typeface="+mn-lt"/>
                </a:rPr>
                <a:t>год</a:t>
              </a:r>
              <a:endParaRPr lang="ru-RU" sz="2800" b="1" dirty="0">
                <a:solidFill>
                  <a:prstClr val="black"/>
                </a:solidFill>
                <a:latin typeface="+mn-lt"/>
              </a:endParaRPr>
            </a:p>
          </p:txBody>
        </p:sp>
      </p:grpSp>
      <p:sp>
        <p:nvSpPr>
          <p:cNvPr id="37" name="Прямоугольник 36"/>
          <p:cNvSpPr>
            <a:spLocks noChangeArrowheads="1"/>
          </p:cNvSpPr>
          <p:nvPr/>
        </p:nvSpPr>
        <p:spPr bwMode="auto">
          <a:xfrm>
            <a:off x="7871637" y="83128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20455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363473" y="1351234"/>
            <a:ext cx="2238473" cy="208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" name="Picture 2" descr="Похожее изображение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6202" b="76202" l="15385" r="84375"/>
                    </a14:imgEffect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255" t="20782" r="14211" b="23907"/>
          <a:stretch/>
        </p:blipFill>
        <p:spPr bwMode="auto">
          <a:xfrm>
            <a:off x="2675963" y="5304580"/>
            <a:ext cx="1842922" cy="1445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4" name="Диаграмма 53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275440"/>
              </p:ext>
            </p:extLst>
          </p:nvPr>
        </p:nvGraphicFramePr>
        <p:xfrm>
          <a:off x="-381001" y="3552824"/>
          <a:ext cx="5981701" cy="307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5" name="Скругленный прямоугольник 54"/>
          <p:cNvSpPr/>
          <p:nvPr/>
        </p:nvSpPr>
        <p:spPr>
          <a:xfrm>
            <a:off x="1140644" y="1351793"/>
            <a:ext cx="1520641" cy="464597"/>
          </a:xfrm>
          <a:prstGeom prst="roundRect">
            <a:avLst>
              <a:gd name="adj" fmla="val 50000"/>
            </a:avLst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600"/>
              </a:lnSpc>
              <a:defRPr/>
            </a:pPr>
            <a:r>
              <a:rPr lang="ru-RU" sz="2400" b="1" dirty="0" smtClean="0">
                <a:solidFill>
                  <a:schemeClr val="tx1"/>
                </a:solidFill>
                <a:cs typeface="Tahoma" pitchFamily="34" charset="0"/>
              </a:rPr>
              <a:t>2019</a:t>
            </a:r>
            <a:r>
              <a:rPr lang="ru-RU" sz="2400" b="1" dirty="0" smtClean="0">
                <a:solidFill>
                  <a:schemeClr val="bg1"/>
                </a:solidFill>
                <a:cs typeface="Tahoma" pitchFamily="34" charset="0"/>
              </a:rPr>
              <a:t> </a:t>
            </a:r>
            <a:endParaRPr lang="ru-RU" sz="2400" b="1" dirty="0">
              <a:solidFill>
                <a:schemeClr val="tx1"/>
              </a:solidFill>
              <a:cs typeface="Tahoma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696463" y="3267732"/>
            <a:ext cx="15121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latin typeface="+mj-lt"/>
              </a:rPr>
              <a:t>4 132</a:t>
            </a:r>
          </a:p>
        </p:txBody>
      </p:sp>
      <p:sp>
        <p:nvSpPr>
          <p:cNvPr id="61" name="Скругленный прямоугольник 60"/>
          <p:cNvSpPr/>
          <p:nvPr>
            <p:custDataLst>
              <p:tags r:id="rId3"/>
            </p:custDataLst>
          </p:nvPr>
        </p:nvSpPr>
        <p:spPr>
          <a:xfrm>
            <a:off x="11008" y="1849935"/>
            <a:ext cx="3779911" cy="1359768"/>
          </a:xfrm>
          <a:prstGeom prst="roundRect">
            <a:avLst>
              <a:gd name="adj" fmla="val 50000"/>
            </a:avLst>
          </a:prstGeom>
          <a:solidFill>
            <a:schemeClr val="accent6">
              <a:lumMod val="40000"/>
              <a:lumOff val="60000"/>
              <a:alpha val="49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216000" tIns="0" bIns="0" anchor="ctr"/>
          <a:lstStyle/>
          <a:p>
            <a:pPr algn="ctr" fontAlgn="b"/>
            <a:r>
              <a:rPr lang="ru-RU" b="1" dirty="0"/>
              <a:t>Дорожная деятельность </a:t>
            </a:r>
            <a:endParaRPr lang="ru-RU" b="1" dirty="0" smtClean="0"/>
          </a:p>
          <a:p>
            <a:pPr algn="ctr" fontAlgn="b"/>
            <a:r>
              <a:rPr lang="ru-RU" sz="1300" b="1" dirty="0" smtClean="0"/>
              <a:t>(Ремонт </a:t>
            </a:r>
            <a:r>
              <a:rPr lang="ru-RU" sz="1300" b="1" dirty="0"/>
              <a:t>автомобильной дороги </a:t>
            </a:r>
            <a:r>
              <a:rPr lang="ru-RU" sz="1300" b="1" dirty="0" smtClean="0"/>
              <a:t>по</a:t>
            </a:r>
          </a:p>
          <a:p>
            <a:pPr algn="ctr" fontAlgn="b"/>
            <a:r>
              <a:rPr lang="ru-RU" sz="1300" b="1" dirty="0" smtClean="0"/>
              <a:t> ул</a:t>
            </a:r>
            <a:r>
              <a:rPr lang="ru-RU" sz="1300" b="1" dirty="0"/>
              <a:t>. Октябрьская </a:t>
            </a:r>
            <a:r>
              <a:rPr lang="ru-RU" sz="1300" b="1" dirty="0" smtClean="0"/>
              <a:t>станицы Константиновской</a:t>
            </a:r>
          </a:p>
          <a:p>
            <a:pPr algn="ctr" fontAlgn="b"/>
            <a:r>
              <a:rPr lang="ru-RU" sz="1300" b="1" dirty="0" smtClean="0"/>
              <a:t> города-курорта </a:t>
            </a:r>
            <a:r>
              <a:rPr lang="ru-RU" sz="1300" b="1" dirty="0"/>
              <a:t>Пятигорска Ставропольского </a:t>
            </a:r>
            <a:r>
              <a:rPr lang="ru-RU" sz="1300" b="1" dirty="0" smtClean="0"/>
              <a:t>края)</a:t>
            </a:r>
            <a:endParaRPr lang="ru-RU" sz="1300" b="1" dirty="0"/>
          </a:p>
          <a:p>
            <a:pPr fontAlgn="b"/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347797" y="1363981"/>
            <a:ext cx="1520641" cy="464597"/>
          </a:xfrm>
          <a:prstGeom prst="roundRect">
            <a:avLst>
              <a:gd name="adj" fmla="val 50000"/>
            </a:avLst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indent="-398463" algn="ctr">
              <a:lnSpc>
                <a:spcPts val="1600"/>
              </a:lnSpc>
              <a:defRPr/>
            </a:pPr>
            <a:r>
              <a:rPr lang="ru-RU" sz="2400" b="1" dirty="0" smtClean="0">
                <a:solidFill>
                  <a:schemeClr val="tx1"/>
                </a:solidFill>
                <a:cs typeface="Tahoma" pitchFamily="34" charset="0"/>
              </a:rPr>
              <a:t>2020 </a:t>
            </a:r>
            <a:endParaRPr lang="ru-RU" sz="2400" b="1" dirty="0">
              <a:solidFill>
                <a:schemeClr val="tx1"/>
              </a:solidFill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>
            <p:custDataLst>
              <p:tags r:id="rId4"/>
            </p:custDataLst>
          </p:nvPr>
        </p:nvSpPr>
        <p:spPr>
          <a:xfrm>
            <a:off x="5374378" y="1916832"/>
            <a:ext cx="3753339" cy="1080120"/>
          </a:xfrm>
          <a:prstGeom prst="roundRect">
            <a:avLst>
              <a:gd name="adj" fmla="val 50000"/>
            </a:avLst>
          </a:prstGeom>
          <a:solidFill>
            <a:schemeClr val="accent6">
              <a:lumMod val="40000"/>
              <a:lumOff val="60000"/>
              <a:alpha val="49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lIns="216000" tIns="0" bIns="0" anchor="ctr"/>
          <a:lstStyle/>
          <a:p>
            <a:pPr algn="ctr" fontAlgn="b">
              <a:lnSpc>
                <a:spcPts val="1400"/>
              </a:lnSpc>
            </a:pPr>
            <a:r>
              <a:rPr lang="ru-RU" b="1" dirty="0"/>
              <a:t>Благоустройство территории </a:t>
            </a:r>
          </a:p>
          <a:p>
            <a:pPr algn="ctr" fontAlgn="b">
              <a:lnSpc>
                <a:spcPts val="1400"/>
              </a:lnSpc>
            </a:pPr>
            <a:r>
              <a:rPr lang="ru-RU" b="1" dirty="0"/>
              <a:t>и обустройство мест </a:t>
            </a:r>
            <a:endParaRPr lang="ru-RU" b="1" dirty="0" smtClean="0"/>
          </a:p>
          <a:p>
            <a:pPr algn="ctr" fontAlgn="b">
              <a:lnSpc>
                <a:spcPts val="1400"/>
              </a:lnSpc>
            </a:pPr>
            <a:r>
              <a:rPr lang="ru-RU" b="1" dirty="0" smtClean="0"/>
              <a:t>массового </a:t>
            </a:r>
            <a:r>
              <a:rPr lang="ru-RU" b="1" dirty="0"/>
              <a:t>отдыха населения</a:t>
            </a:r>
          </a:p>
          <a:p>
            <a:pPr algn="ctr" fontAlgn="b">
              <a:lnSpc>
                <a:spcPts val="1400"/>
              </a:lnSpc>
            </a:pPr>
            <a:r>
              <a:rPr lang="ru-RU" sz="1400" b="1" dirty="0"/>
              <a:t>(сквер Победы мкр</a:t>
            </a:r>
            <a:r>
              <a:rPr lang="ru-RU" sz="1400" b="1" dirty="0" smtClean="0"/>
              <a:t>. «</a:t>
            </a:r>
            <a:r>
              <a:rPr lang="ru-RU" sz="1400" b="1" dirty="0"/>
              <a:t>Бештау-</a:t>
            </a:r>
            <a:r>
              <a:rPr lang="ru-RU" sz="1400" b="1" dirty="0" err="1"/>
              <a:t>Горапост</a:t>
            </a:r>
            <a:r>
              <a:rPr lang="ru-RU" sz="1400" b="1" dirty="0"/>
              <a:t>»)</a:t>
            </a:r>
          </a:p>
        </p:txBody>
      </p:sp>
      <p:graphicFrame>
        <p:nvGraphicFramePr>
          <p:cNvPr id="15" name="Диаграмма 14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05321553"/>
              </p:ext>
            </p:extLst>
          </p:nvPr>
        </p:nvGraphicFramePr>
        <p:xfrm>
          <a:off x="4857750" y="3267075"/>
          <a:ext cx="5219700" cy="3838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1026" name="Picture 2" descr="Похожее изображение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36389">
            <a:off x="3816540" y="4819439"/>
            <a:ext cx="2508769" cy="251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6778723" y="3110241"/>
            <a:ext cx="15121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latin typeface="+mj-lt"/>
              </a:rPr>
              <a:t>7 849</a:t>
            </a:r>
          </a:p>
        </p:txBody>
      </p:sp>
      <p:pic>
        <p:nvPicPr>
          <p:cNvPr id="17" name="Picture 11" descr="5gor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Заголовок 2"/>
          <p:cNvSpPr txBox="1">
            <a:spLocks/>
          </p:cNvSpPr>
          <p:nvPr/>
        </p:nvSpPr>
        <p:spPr>
          <a:xfrm>
            <a:off x="1182255" y="114300"/>
            <a:ext cx="7961313" cy="1057275"/>
          </a:xfrm>
          <a:prstGeom prst="rect">
            <a:avLst/>
          </a:prstGeom>
          <a:solidFill>
            <a:srgbClr val="99CCFF"/>
          </a:solidFill>
          <a:ln w="6350" cap="rnd">
            <a:noFill/>
          </a:ln>
        </p:spPr>
        <p:txBody>
          <a:bodyPr vert="horz" rtlCol="0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4200" kern="1200" spc="-10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prstClr val="black">
                      <a:alpha val="70000"/>
                    </a:prstClr>
                  </a:innerShdw>
                </a:effectLst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rgbClr val="F9F9F9"/>
                </a:solidFill>
                <a:latin typeface="Constantia" pitchFamily="18" charset="0"/>
              </a:defRPr>
            </a:lvl9pPr>
          </a:lstStyle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alt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Поддержка  местных  инициатив </a:t>
            </a:r>
          </a:p>
          <a:p>
            <a:pPr marL="446088" indent="-446088" algn="ctr" eaLnBrk="1" hangingPunct="1">
              <a:lnSpc>
                <a:spcPct val="80000"/>
              </a:lnSpc>
              <a:defRPr/>
            </a:pPr>
            <a:r>
              <a:rPr lang="ru-RU" alt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в 2019 и 2020 годах </a:t>
            </a:r>
            <a:r>
              <a:rPr lang="ru-RU" sz="2800" b="1" kern="0" spc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/>
                <a:cs typeface="Arial"/>
              </a:rPr>
              <a:t>( тыс. руб.)</a:t>
            </a:r>
          </a:p>
        </p:txBody>
      </p:sp>
    </p:spTree>
    <p:extLst>
      <p:ext uri="{BB962C8B-B14F-4D97-AF65-F5344CB8AC3E}">
        <p14:creationId xmlns:p14="http://schemas.microsoft.com/office/powerpoint/2010/main" val="1924648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895350" cy="1119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895725" y="3038475"/>
            <a:ext cx="1447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214,6</a:t>
            </a:r>
            <a:endParaRPr lang="ru-RU" sz="32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grpSp>
        <p:nvGrpSpPr>
          <p:cNvPr id="8" name="Группа 35"/>
          <p:cNvGrpSpPr/>
          <p:nvPr/>
        </p:nvGrpSpPr>
        <p:grpSpPr>
          <a:xfrm>
            <a:off x="0" y="1514475"/>
            <a:ext cx="3390900" cy="1457324"/>
            <a:chOff x="3425205" y="1278285"/>
            <a:chExt cx="2448272" cy="883143"/>
          </a:xfrm>
        </p:grpSpPr>
        <p:sp>
          <p:nvSpPr>
            <p:cNvPr id="9" name="Скругленный прямоугольник 8"/>
            <p:cNvSpPr/>
            <p:nvPr>
              <p:custDataLst>
                <p:tags r:id="rId5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51,75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0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solidFill>
                    <a:srgbClr val="002060"/>
                  </a:solidFill>
                  <a:latin typeface="+mj-lt"/>
                </a:rPr>
                <a:t>Реконструкция гимназии №11</a:t>
              </a:r>
            </a:p>
          </p:txBody>
        </p:sp>
      </p:grpSp>
      <p:grpSp>
        <p:nvGrpSpPr>
          <p:cNvPr id="11" name="Группа 35"/>
          <p:cNvGrpSpPr/>
          <p:nvPr/>
        </p:nvGrpSpPr>
        <p:grpSpPr>
          <a:xfrm>
            <a:off x="5753100" y="3562350"/>
            <a:ext cx="3390900" cy="1457324"/>
            <a:chOff x="3425205" y="1278285"/>
            <a:chExt cx="2448272" cy="883143"/>
          </a:xfrm>
        </p:grpSpPr>
        <p:sp>
          <p:nvSpPr>
            <p:cNvPr id="12" name="Скругленный прямоугольник 11"/>
            <p:cNvSpPr/>
            <p:nvPr>
              <p:custDataLst>
                <p:tags r:id="rId4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48,91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3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solidFill>
                    <a:srgbClr val="002060"/>
                  </a:solidFill>
                  <a:latin typeface="+mj-lt"/>
                </a:rPr>
                <a:t>Строительство Д/сада в п. Константиновка</a:t>
              </a:r>
            </a:p>
          </p:txBody>
        </p:sp>
      </p:grpSp>
      <p:grpSp>
        <p:nvGrpSpPr>
          <p:cNvPr id="14" name="Группа 35"/>
          <p:cNvGrpSpPr/>
          <p:nvPr/>
        </p:nvGrpSpPr>
        <p:grpSpPr>
          <a:xfrm>
            <a:off x="0" y="3343275"/>
            <a:ext cx="3257550" cy="1457324"/>
            <a:chOff x="3425205" y="1278285"/>
            <a:chExt cx="2448272" cy="883143"/>
          </a:xfrm>
        </p:grpSpPr>
        <p:sp>
          <p:nvSpPr>
            <p:cNvPr id="15" name="Скругленный прямоугольник 14"/>
            <p:cNvSpPr/>
            <p:nvPr>
              <p:custDataLst>
                <p:tags r:id="rId3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35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6" name="AutoShape 32"/>
            <p:cNvSpPr>
              <a:spLocks noChangeArrowheads="1"/>
            </p:cNvSpPr>
            <p:nvPr/>
          </p:nvSpPr>
          <p:spPr bwMode="auto">
            <a:xfrm>
              <a:off x="3425205" y="1278285"/>
              <a:ext cx="2448272" cy="46754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</a:pPr>
              <a:r>
                <a:rPr lang="ru-RU" sz="2000" dirty="0" smtClean="0">
                  <a:solidFill>
                    <a:srgbClr val="002060"/>
                  </a:solidFill>
                  <a:latin typeface="+mj-lt"/>
                </a:rPr>
                <a:t>Реконструкция ул. Вишневая п. Свободы</a:t>
              </a:r>
            </a:p>
          </p:txBody>
        </p:sp>
      </p:grpSp>
      <p:grpSp>
        <p:nvGrpSpPr>
          <p:cNvPr id="17" name="Группа 35"/>
          <p:cNvGrpSpPr/>
          <p:nvPr/>
        </p:nvGrpSpPr>
        <p:grpSpPr>
          <a:xfrm>
            <a:off x="3038475" y="5010152"/>
            <a:ext cx="3390900" cy="1847848"/>
            <a:chOff x="3425205" y="1041626"/>
            <a:chExt cx="2448272" cy="1119802"/>
          </a:xfrm>
        </p:grpSpPr>
        <p:sp>
          <p:nvSpPr>
            <p:cNvPr id="18" name="Скругленный прямоугольник 17"/>
            <p:cNvSpPr/>
            <p:nvPr>
              <p:custDataLst>
                <p:tags r:id="rId2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52,32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19" name="AutoShape 32"/>
            <p:cNvSpPr>
              <a:spLocks noChangeArrowheads="1"/>
            </p:cNvSpPr>
            <p:nvPr/>
          </p:nvSpPr>
          <p:spPr bwMode="auto">
            <a:xfrm>
              <a:off x="3425205" y="1041626"/>
              <a:ext cx="2448272" cy="70420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lvl="0" algn="ctr">
                <a:lnSpc>
                  <a:spcPts val="1600"/>
                </a:lnSpc>
              </a:pPr>
              <a:r>
                <a:rPr lang="ru-RU" sz="2000" dirty="0" smtClean="0">
                  <a:solidFill>
                    <a:srgbClr val="002060"/>
                  </a:solidFill>
                  <a:latin typeface="+mj-lt"/>
                </a:rPr>
                <a:t>Строительство жилого дома в целях переселения из аварийного жилого фонда</a:t>
              </a:r>
            </a:p>
          </p:txBody>
        </p:sp>
      </p:grpSp>
      <p:grpSp>
        <p:nvGrpSpPr>
          <p:cNvPr id="20" name="Группа 35"/>
          <p:cNvGrpSpPr/>
          <p:nvPr/>
        </p:nvGrpSpPr>
        <p:grpSpPr>
          <a:xfrm>
            <a:off x="0" y="5010152"/>
            <a:ext cx="3390900" cy="1847848"/>
            <a:chOff x="3425205" y="1041626"/>
            <a:chExt cx="2448272" cy="1119802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1"/>
              </p:custDataLst>
            </p:nvPr>
          </p:nvSpPr>
          <p:spPr>
            <a:xfrm>
              <a:off x="3793390" y="1781736"/>
              <a:ext cx="1683378" cy="379692"/>
            </a:xfrm>
            <a:prstGeom prst="roundRect">
              <a:avLst>
                <a:gd name="adj" fmla="val 50000"/>
              </a:avLst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sz="2400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60,34</a:t>
              </a:r>
              <a:endParaRPr lang="ru-RU" sz="2400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  <p:sp>
          <p:nvSpPr>
            <p:cNvPr id="22" name="AutoShape 32"/>
            <p:cNvSpPr>
              <a:spLocks noChangeArrowheads="1"/>
            </p:cNvSpPr>
            <p:nvPr/>
          </p:nvSpPr>
          <p:spPr bwMode="auto">
            <a:xfrm>
              <a:off x="3425205" y="1041626"/>
              <a:ext cx="2448272" cy="704207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 lIns="108000" tIns="72000" bIns="72000" anchor="ctr"/>
            <a:lstStyle/>
            <a:p>
              <a:pPr algn="ctr">
                <a:lnSpc>
                  <a:spcPts val="1600"/>
                </a:lnSpc>
                <a:defRPr/>
              </a:pPr>
              <a:r>
                <a:rPr lang="ru-RU" sz="2000" dirty="0" smtClean="0">
                  <a:solidFill>
                    <a:srgbClr val="002060"/>
                  </a:solidFill>
                  <a:latin typeface="+mj-lt"/>
                </a:rPr>
                <a:t>Реконструкция ДЮСШ олимпийского резерва №2 по ул. Советская,82</a:t>
              </a: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505687" y="490734"/>
            <a:ext cx="6668813" cy="44287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46088" indent="-446088" algn="ctr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rPr>
              <a:t>Бюджетные инвестиции в 2020 году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286375" y="1428751"/>
            <a:ext cx="3648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Средства местного бюджета</a:t>
            </a:r>
            <a:endParaRPr lang="ru-RU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657850" y="2019301"/>
            <a:ext cx="3648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редства вышестоящих бюджетов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0" name="Группа 44"/>
          <p:cNvGrpSpPr/>
          <p:nvPr/>
        </p:nvGrpSpPr>
        <p:grpSpPr>
          <a:xfrm rot="5400000">
            <a:off x="6112472" y="-31149"/>
            <a:ext cx="371475" cy="3996130"/>
            <a:chOff x="4714082" y="4501364"/>
            <a:chExt cx="1167405" cy="928694"/>
          </a:xfrm>
        </p:grpSpPr>
        <p:cxnSp>
          <p:nvCxnSpPr>
            <p:cNvPr id="31" name="Прямая соединительная линия 30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Группа 41"/>
          <p:cNvGrpSpPr/>
          <p:nvPr/>
        </p:nvGrpSpPr>
        <p:grpSpPr>
          <a:xfrm>
            <a:off x="5657852" y="2628900"/>
            <a:ext cx="2804168" cy="57150"/>
            <a:chOff x="4714082" y="4501364"/>
            <a:chExt cx="1167405" cy="928694"/>
          </a:xfrm>
        </p:grpSpPr>
        <p:cxnSp>
          <p:nvCxnSpPr>
            <p:cNvPr id="34" name="Прямая соединительная линия 33"/>
            <p:cNvCxnSpPr/>
            <p:nvPr/>
          </p:nvCxnSpPr>
          <p:spPr>
            <a:xfrm>
              <a:off x="4714876" y="5429264"/>
              <a:ext cx="1166611" cy="0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/>
            <p:cNvCxnSpPr/>
            <p:nvPr/>
          </p:nvCxnSpPr>
          <p:spPr>
            <a:xfrm rot="5400000">
              <a:off x="4250529" y="4964917"/>
              <a:ext cx="928694" cy="1588"/>
            </a:xfrm>
            <a:prstGeom prst="line">
              <a:avLst/>
            </a:prstGeom>
            <a:ln w="50800" cap="rnd">
              <a:solidFill>
                <a:schemeClr val="accent2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Прямоугольник 35"/>
          <p:cNvSpPr>
            <a:spLocks noChangeArrowheads="1"/>
          </p:cNvSpPr>
          <p:nvPr/>
        </p:nvSpPr>
        <p:spPr bwMode="auto">
          <a:xfrm>
            <a:off x="7871637" y="92653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2295525" y="1647825"/>
          <a:ext cx="4648200" cy="3448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Группа 12"/>
          <p:cNvGrpSpPr/>
          <p:nvPr/>
        </p:nvGrpSpPr>
        <p:grpSpPr>
          <a:xfrm rot="20028989">
            <a:off x="3214076" y="1930840"/>
            <a:ext cx="4305417" cy="896517"/>
            <a:chOff x="1259632" y="4108583"/>
            <a:chExt cx="4931653" cy="896517"/>
          </a:xfrm>
        </p:grpSpPr>
        <p:sp>
          <p:nvSpPr>
            <p:cNvPr id="19" name="Стрелка вверх 18"/>
            <p:cNvSpPr/>
            <p:nvPr>
              <p:custDataLst>
                <p:tags r:id="rId2"/>
              </p:custDataLst>
            </p:nvPr>
          </p:nvSpPr>
          <p:spPr>
            <a:xfrm rot="5874126">
              <a:off x="5745909" y="4559724"/>
              <a:ext cx="468817" cy="421935"/>
            </a:xfrm>
            <a:prstGeom prst="upArrow">
              <a:avLst/>
            </a:prstGeom>
            <a:solidFill>
              <a:srgbClr val="529C95">
                <a:alpha val="91765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20" name="Прямая соединительная линия 19"/>
            <p:cNvCxnSpPr/>
            <p:nvPr/>
          </p:nvCxnSpPr>
          <p:spPr>
            <a:xfrm flipH="1" flipV="1">
              <a:off x="1259632" y="4108583"/>
              <a:ext cx="4229287" cy="593171"/>
            </a:xfrm>
            <a:prstGeom prst="line">
              <a:avLst/>
            </a:prstGeom>
            <a:ln w="295275" cap="rnd">
              <a:gradFill flip="none" rotWithShape="1"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918722280"/>
              </p:ext>
            </p:extLst>
          </p:nvPr>
        </p:nvGraphicFramePr>
        <p:xfrm>
          <a:off x="0" y="428624"/>
          <a:ext cx="9143999" cy="6238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2"/>
          <p:cNvSpPr txBox="1">
            <a:spLocks/>
          </p:cNvSpPr>
          <p:nvPr/>
        </p:nvSpPr>
        <p:spPr bwMode="auto">
          <a:xfrm>
            <a:off x="1050878" y="167410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Долговая нагрузка бюджета</a:t>
            </a:r>
          </a:p>
          <a:p>
            <a:pPr marL="446088" indent="-446088" eaLnBrk="1" hangingPunct="1">
              <a:lnSpc>
                <a:spcPct val="8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города-курорта Пятигорска</a:t>
            </a:r>
            <a:endParaRPr lang="ru-RU" sz="2800" b="1" kern="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1066801" y="3064161"/>
            <a:ext cx="6191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820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2" name="TextBox 10"/>
          <p:cNvSpPr txBox="1"/>
          <p:nvPr/>
        </p:nvSpPr>
        <p:spPr>
          <a:xfrm>
            <a:off x="5333999" y="1485870"/>
            <a:ext cx="88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1018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3" name="TextBox 10"/>
          <p:cNvSpPr txBox="1"/>
          <p:nvPr/>
        </p:nvSpPr>
        <p:spPr>
          <a:xfrm>
            <a:off x="7686674" y="1552545"/>
            <a:ext cx="885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rgbClr val="2D2D8A">
                    <a:lumMod val="75000"/>
                  </a:srgbClr>
                </a:solidFill>
                <a:latin typeface="Arial"/>
              </a:rPr>
              <a:t>1170</a:t>
            </a:r>
            <a:endParaRPr lang="ru-RU" sz="2000" b="1" dirty="0">
              <a:solidFill>
                <a:srgbClr val="2D2D8A">
                  <a:lumMod val="75000"/>
                </a:srgbClr>
              </a:solidFill>
              <a:latin typeface="Arial"/>
            </a:endParaRPr>
          </a:p>
        </p:txBody>
      </p:sp>
      <p:graphicFrame>
        <p:nvGraphicFramePr>
          <p:cNvPr id="14" name="Диаграмма 13"/>
          <p:cNvGraphicFramePr/>
          <p:nvPr/>
        </p:nvGraphicFramePr>
        <p:xfrm>
          <a:off x="228600" y="4448175"/>
          <a:ext cx="9144000" cy="2114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5" name="Группа 12"/>
          <p:cNvGrpSpPr/>
          <p:nvPr/>
        </p:nvGrpSpPr>
        <p:grpSpPr>
          <a:xfrm rot="183398">
            <a:off x="4543427" y="3529957"/>
            <a:ext cx="3546698" cy="896517"/>
            <a:chOff x="1259632" y="4108583"/>
            <a:chExt cx="4931653" cy="896517"/>
          </a:xfrm>
        </p:grpSpPr>
        <p:sp>
          <p:nvSpPr>
            <p:cNvPr id="16" name="Стрелка вверх 15"/>
            <p:cNvSpPr/>
            <p:nvPr>
              <p:custDataLst>
                <p:tags r:id="rId1"/>
              </p:custDataLst>
            </p:nvPr>
          </p:nvSpPr>
          <p:spPr>
            <a:xfrm rot="5874126">
              <a:off x="5745909" y="4559724"/>
              <a:ext cx="468817" cy="421935"/>
            </a:xfrm>
            <a:prstGeom prst="upArrow">
              <a:avLst/>
            </a:prstGeom>
            <a:solidFill>
              <a:srgbClr val="529C95">
                <a:alpha val="91765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7" name="Прямая соединительная линия 16"/>
            <p:cNvCxnSpPr/>
            <p:nvPr/>
          </p:nvCxnSpPr>
          <p:spPr>
            <a:xfrm flipH="1" flipV="1">
              <a:off x="1259632" y="4108583"/>
              <a:ext cx="4229287" cy="593171"/>
            </a:xfrm>
            <a:prstGeom prst="line">
              <a:avLst/>
            </a:prstGeom>
            <a:ln w="295275" cap="rnd">
              <a:gradFill flip="none" rotWithShape="1">
                <a:gsLst>
                  <a:gs pos="100000">
                    <a:schemeClr val="accent6">
                      <a:lumMod val="60000"/>
                      <a:lumOff val="40000"/>
                    </a:schemeClr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  <a:scene3d>
              <a:camera prst="orthographicFront"/>
              <a:lightRig rig="threePt" dir="t"/>
            </a:scene3d>
            <a:sp3d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Блок-схема: узел 20"/>
          <p:cNvSpPr/>
          <p:nvPr/>
        </p:nvSpPr>
        <p:spPr>
          <a:xfrm>
            <a:off x="180975" y="5991225"/>
            <a:ext cx="742950" cy="752475"/>
          </a:xfrm>
          <a:prstGeom prst="flowChartConnector">
            <a:avLst/>
          </a:prstGeom>
          <a:solidFill>
            <a:srgbClr val="FF9933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1123950" y="5934670"/>
            <a:ext cx="38671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отношение объема муниципального долга к собственным доходам (%)</a:t>
            </a:r>
            <a:endParaRPr lang="ru-RU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248275" y="6086475"/>
            <a:ext cx="866775" cy="657225"/>
          </a:xfrm>
          <a:prstGeom prst="rect">
            <a:avLst/>
          </a:prstGeom>
          <a:solidFill>
            <a:schemeClr val="accent5">
              <a:lumMod val="5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6076950" y="5934670"/>
            <a:ext cx="343852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 Cyr" panose="020B0604020202020204" pitchFamily="34" charset="0"/>
                <a:cs typeface="Arial Cyr" panose="020B0604020202020204" pitchFamily="34" charset="0"/>
              </a:rPr>
              <a:t>средняя ставка муниципальных заимствований (%)</a:t>
            </a:r>
            <a:endParaRPr lang="ru-RU" b="1" dirty="0">
              <a:latin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25" name="Прямоугольник 24"/>
          <p:cNvSpPr>
            <a:spLocks noChangeArrowheads="1"/>
          </p:cNvSpPr>
          <p:nvPr/>
        </p:nvSpPr>
        <p:spPr bwMode="auto">
          <a:xfrm>
            <a:off x="7871637" y="97415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892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362075" y="167410"/>
            <a:ext cx="7477126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НАЛОГОВОЙ ПОЛИТИКИ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Схема 9"/>
          <p:cNvGraphicFramePr/>
          <p:nvPr/>
        </p:nvGraphicFramePr>
        <p:xfrm>
          <a:off x="-1457326" y="1397000"/>
          <a:ext cx="10601325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0996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82687" cy="1474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314036" y="1697399"/>
            <a:ext cx="8640960" cy="2952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0" cap="none" spc="0" normalizeH="0" baseline="0" noProof="0" dirty="0" smtClean="0">
                <a:ln w="11430"/>
                <a:solidFill>
                  <a:srgbClr val="333399"/>
                </a:solidFill>
                <a:effectLst>
                  <a:glow rad="1905000">
                    <a:srgbClr val="DAEDEF">
                      <a:satMod val="175000"/>
                      <a:alpha val="40000"/>
                    </a:srgb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uLnTx/>
                <a:uFillTx/>
                <a:latin typeface="Times New Roman" pitchFamily="18" charset="0"/>
                <a:cs typeface="Times New Roman" pitchFamily="18" charset="0"/>
              </a:rPr>
              <a:t>Спасибо за внимание!</a:t>
            </a:r>
            <a:endParaRPr kumimoji="0" lang="en-US" sz="3400" b="1" i="0" u="none" strike="noStrike" kern="0" cap="none" spc="0" normalizeH="0" baseline="0" noProof="0" dirty="0">
              <a:ln w="11430"/>
              <a:solidFill>
                <a:srgbClr val="333399"/>
              </a:solidFill>
              <a:effectLst>
                <a:glow rad="1905000">
                  <a:srgbClr val="DAEDEF">
                    <a:satMod val="175000"/>
                    <a:alpha val="40000"/>
                  </a:srgb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14036" y="5776753"/>
            <a:ext cx="63530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b="1" dirty="0">
                <a:solidFill>
                  <a:srgbClr val="000099"/>
                </a:solidFill>
                <a:latin typeface="Arial" pitchFamily="34" charset="0"/>
              </a:rPr>
              <a:t>Докладчик </a:t>
            </a:r>
            <a:r>
              <a:rPr lang="ru-RU" dirty="0" smtClean="0">
                <a:solidFill>
                  <a:srgbClr val="000099"/>
                </a:solidFill>
                <a:latin typeface="Arial" pitchFamily="34" charset="0"/>
              </a:rPr>
              <a:t>Карпова Виктория Владимировна,</a:t>
            </a:r>
            <a:endParaRPr lang="ru-RU" dirty="0">
              <a:solidFill>
                <a:srgbClr val="000099"/>
              </a:solidFill>
              <a:latin typeface="Arial" pitchFamily="34" charset="0"/>
            </a:endParaRPr>
          </a:p>
          <a:p>
            <a:pPr eaLnBrk="0" hangingPunct="0">
              <a:defRPr/>
            </a:pPr>
            <a:r>
              <a:rPr lang="ru-RU" dirty="0" smtClean="0">
                <a:solidFill>
                  <a:srgbClr val="000099"/>
                </a:solidFill>
                <a:latin typeface="Arial" pitchFamily="34" charset="0"/>
              </a:rPr>
              <a:t>Заместитель главы администрации города Пятигорска</a:t>
            </a:r>
            <a:endParaRPr lang="ru-RU" dirty="0">
              <a:solidFill>
                <a:srgbClr val="000099"/>
              </a:solidFill>
              <a:latin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439150" y="6667500"/>
            <a:ext cx="704850" cy="190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525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314449" y="167410"/>
            <a:ext cx="7658101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БЮДЖЕТНОЙ ПОЛИТИКИ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Схема 9"/>
          <p:cNvGraphicFramePr/>
          <p:nvPr/>
        </p:nvGraphicFramePr>
        <p:xfrm>
          <a:off x="-1457326" y="1397000"/>
          <a:ext cx="10601325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0996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28724" y="274638"/>
            <a:ext cx="7458075" cy="992187"/>
          </a:xfrm>
        </p:spPr>
        <p:txBody>
          <a:bodyPr/>
          <a:lstStyle/>
          <a:p>
            <a:r>
              <a:rPr 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Прогноз социально-экономического развития города-курорта Пятигорска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00024" y="2730500"/>
          <a:ext cx="2381251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1251"/>
              </a:tblGrid>
              <a:tr h="2692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</a:t>
                      </a:r>
                      <a:r>
                        <a:rPr lang="ru-RU" sz="16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</a:t>
                      </a:r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13,90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19                   214,00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0                   214,13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1                   214,26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240">
                <a:tc>
                  <a:txBody>
                    <a:bodyPr/>
                    <a:lstStyle/>
                    <a:p>
                      <a:pPr marL="342900" indent="-342900">
                        <a:buAutoNum type="arabicPlain" startAt="2022"/>
                      </a:pPr>
                      <a:r>
                        <a:rPr lang="ru-RU" sz="1600" dirty="0" smtClean="0"/>
                        <a:t>                   214,28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80975" y="2047876"/>
            <a:ext cx="25050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Численность постоянного населения, тыс. че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724150" y="1971675"/>
            <a:ext cx="32765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Среднесписочная численность работающих (по крупным и средним предприятиям), тыс. чел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3219450" y="2730500"/>
          <a:ext cx="2314576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4576"/>
              </a:tblGrid>
              <a:tr h="2425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</a:t>
                      </a:r>
                      <a:r>
                        <a:rPr lang="ru-RU" sz="16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 </a:t>
                      </a:r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7,68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19                    37,05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0                    37,02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1                    37,05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4257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022                    37,10</a:t>
                      </a:r>
                      <a:endParaRPr lang="ru-RU" sz="1600" dirty="0"/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972175" y="2047875"/>
            <a:ext cx="31718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Численность работающих (по субъектам малого предпринимательства), тыс. чел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6153150" y="2749550"/>
          <a:ext cx="2447926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7926"/>
              </a:tblGrid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                   34,2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      34,5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      34,8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      35,1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11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      35,5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42874" y="4552950"/>
            <a:ext cx="26574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Индекс потребительских цен, % к предыдущему году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190500" y="5143500"/>
          <a:ext cx="2438400" cy="1714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8400"/>
              </a:tblGrid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                 103,2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    104,3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    103,8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2857500" y="4457700"/>
            <a:ext cx="33051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Объем инвестиций в основной капитал по крупным и средним организациям, млн. руб.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3219449" y="5181600"/>
          <a:ext cx="2295525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5525"/>
              </a:tblGrid>
              <a:tr h="2698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              103,2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 104,3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 103,8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5943600" y="4581525"/>
            <a:ext cx="3200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Ввод в эксплуатацию общей площади жилых домов, тыс. кв.м</a:t>
            </a: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6162675" y="5181600"/>
          <a:ext cx="2524126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4126"/>
              </a:tblGrid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                      103,2</a:t>
                      </a:r>
                    </a:p>
                  </a:txBody>
                  <a:tcPr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9                       104,3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0                       103,8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1    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2755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                       104,0</a:t>
                      </a:r>
                    </a:p>
                  </a:txBody>
                  <a:tcP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266700" y="1552575"/>
            <a:ext cx="895350" cy="40957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095375" y="1581150"/>
            <a:ext cx="1657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1266825" y="1590675"/>
            <a:ext cx="1447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факт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409825" y="1552575"/>
            <a:ext cx="895350" cy="40957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3400425" y="1609725"/>
            <a:ext cx="1447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оценк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695825" y="1543050"/>
            <a:ext cx="895350" cy="409575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762625" y="1619250"/>
            <a:ext cx="1447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5">
                    <a:lumMod val="10000"/>
                  </a:schemeClr>
                </a:solidFill>
                <a:latin typeface="Arial"/>
                <a:cs typeface="+mn-cs"/>
              </a:rPr>
              <a:t>прогноз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981075" y="274638"/>
            <a:ext cx="8162925" cy="992187"/>
          </a:xfrm>
        </p:spPr>
        <p:txBody>
          <a:bodyPr/>
          <a:lstStyle/>
          <a:p>
            <a:r>
              <a:rPr lang="ru-RU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бъем поступлений налоговых доходов, собираемых на территории города Пятигорска за 2018 год</a:t>
            </a:r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1781175" y="1466850"/>
          <a:ext cx="7200900" cy="5391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161925" y="1543047"/>
          <a:ext cx="3543300" cy="51530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4174"/>
                <a:gridCol w="919126"/>
              </a:tblGrid>
              <a:tr h="567524">
                <a:tc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ДФ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851,2</a:t>
                      </a:r>
                      <a:endParaRPr lang="ru-RU" sz="18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7524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НДС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2442,6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2628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Налог на совокупный доход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902,1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7524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Налог на прибыль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884,2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2628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Налог на имущество организаций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363,2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7524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Земельный налог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172,8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7524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Транспортный налог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164,3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82628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Налог на имущество физических лиц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115,6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7524"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Arial" pitchFamily="34" charset="0"/>
                          <a:cs typeface="Arial" pitchFamily="34" charset="0"/>
                        </a:rPr>
                        <a:t>Госпошлина</a:t>
                      </a:r>
                      <a:endParaRPr lang="ru-RU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>
                          <a:latin typeface="Arial" pitchFamily="34" charset="0"/>
                          <a:cs typeface="Arial" pitchFamily="34" charset="0"/>
                        </a:rPr>
                        <a:t>24,9</a:t>
                      </a:r>
                      <a:endParaRPr lang="ru-RU" sz="1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7871637" y="993206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209674" y="167410"/>
            <a:ext cx="7934325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    Структура доходов бюджета  </a:t>
            </a:r>
            <a:b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</a:b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рода – курорта Пятигорска</a:t>
            </a:r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1"/>
          <p:cNvSpPr txBox="1"/>
          <p:nvPr/>
        </p:nvSpPr>
        <p:spPr>
          <a:xfrm>
            <a:off x="6677025" y="4219574"/>
            <a:ext cx="2895600" cy="94297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rgbClr val="3333FF"/>
                </a:solidFill>
              </a:rPr>
              <a:t>Налоговые доходы</a:t>
            </a:r>
            <a:endParaRPr lang="ru-RU" sz="2400" b="1" dirty="0">
              <a:solidFill>
                <a:srgbClr val="3333FF"/>
              </a:solidFill>
            </a:endParaRPr>
          </a:p>
        </p:txBody>
      </p:sp>
      <p:sp>
        <p:nvSpPr>
          <p:cNvPr id="8" name="TextBox 1"/>
          <p:cNvSpPr txBox="1"/>
          <p:nvPr/>
        </p:nvSpPr>
        <p:spPr>
          <a:xfrm>
            <a:off x="6524626" y="3000375"/>
            <a:ext cx="2619374" cy="89535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rgbClr val="FFFF00"/>
                </a:solidFill>
              </a:rPr>
              <a:t>Безвозмездные поступления</a:t>
            </a:r>
            <a:endParaRPr lang="ru-RU" sz="2400" b="1" dirty="0">
              <a:solidFill>
                <a:srgbClr val="FFFF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839075" y="971550"/>
            <a:ext cx="1304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+mn-lt"/>
              </a:rPr>
              <a:t>млн. руб.</a:t>
            </a:r>
            <a:endParaRPr lang="ru-RU" dirty="0">
              <a:latin typeface="+mn-lt"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6553201" y="1952625"/>
            <a:ext cx="2590799" cy="55245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chemeClr val="accent5">
                    <a:lumMod val="25000"/>
                  </a:schemeClr>
                </a:solidFill>
              </a:rPr>
              <a:t>Всего доходов</a:t>
            </a:r>
            <a:endParaRPr lang="ru-RU" sz="2400" b="1" dirty="0">
              <a:solidFill>
                <a:schemeClr val="accent5">
                  <a:lumMod val="25000"/>
                </a:schemeClr>
              </a:solidFill>
            </a:endParaRP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0" y="1133475"/>
          <a:ext cx="6858000" cy="5724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"/>
          <p:cNvSpPr txBox="1"/>
          <p:nvPr/>
        </p:nvSpPr>
        <p:spPr>
          <a:xfrm>
            <a:off x="6800850" y="5429250"/>
            <a:ext cx="2895600" cy="609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rgbClr val="006600"/>
                </a:solidFill>
              </a:rPr>
              <a:t>Неналоговые доходы</a:t>
            </a:r>
            <a:endParaRPr lang="ru-RU" sz="2400" b="1" dirty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96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5748843"/>
              </p:ext>
            </p:extLst>
          </p:nvPr>
        </p:nvGraphicFramePr>
        <p:xfrm>
          <a:off x="0" y="1409701"/>
          <a:ext cx="9114827" cy="544829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6610350"/>
                <a:gridCol w="904875"/>
                <a:gridCol w="828675"/>
                <a:gridCol w="770927"/>
              </a:tblGrid>
              <a:tr h="377026">
                <a:tc>
                  <a:txBody>
                    <a:bodyPr/>
                    <a:lstStyle/>
                    <a:p>
                      <a:pPr algn="ctr"/>
                      <a:r>
                        <a:rPr lang="ru-RU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Изменения</a:t>
                      </a:r>
                      <a:endParaRPr lang="ru-RU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2020</a:t>
                      </a:r>
                      <a:endParaRPr lang="ru-RU" sz="1800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2021</a:t>
                      </a:r>
                      <a:endParaRPr lang="ru-RU" sz="1800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2022</a:t>
                      </a:r>
                      <a:endParaRPr lang="ru-RU" sz="1800" b="1" kern="1200" dirty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F4E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5C4E9"/>
                    </a:solidFill>
                  </a:tcPr>
                </a:tc>
              </a:tr>
              <a:tr h="4463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 норматива отчислений от НДФЛ</a:t>
                      </a:r>
                      <a:endParaRPr lang="ru-RU" sz="1500" b="0" i="1" kern="1200" dirty="0" smtClean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296,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54,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31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4138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 дифференцированного норматива отчислений с доходов от уплаты акцизов</a:t>
                      </a:r>
                      <a:endParaRPr lang="ru-RU" sz="1500" b="0" i="1" kern="1200" dirty="0" smtClean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3,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1,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1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35478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Уменьшение налогов на совокупный доход (ЕНВД, Патент, ЕСХН), за счет: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тупления в действие с 1 января 2020 года запрета на применение ЕНВД и Патента для налогоплательщиков, торгующих в розницу товарами, подлежащими обязательной маркировке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мена ЕНВД с 2021г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4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«налоговых каникул» для отдельных категорий</a:t>
                      </a:r>
                      <a:endParaRPr lang="ru-RU" sz="1600" b="0" i="0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28,2</a:t>
                      </a:r>
                      <a:endParaRPr lang="ru-RU" sz="1800" b="1" kern="120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118,1</a:t>
                      </a:r>
                      <a:endParaRPr lang="ru-RU" sz="1800" b="1" kern="120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36,4</a:t>
                      </a:r>
                      <a:endParaRPr lang="ru-RU" sz="1800" b="1" kern="120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0675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Увеличение общей суммы доходов от местных налогов, в связи с применением новой кадастровой стоимости объектов</a:t>
                      </a:r>
                      <a:r>
                        <a:rPr lang="ru-RU" sz="1600" b="0" i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недвижимости</a:t>
                      </a:r>
                      <a:r>
                        <a:rPr lang="ru-RU" sz="1600" b="0" i="0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(</a:t>
                      </a:r>
                      <a:r>
                        <a:rPr lang="ru-RU" sz="1200" b="0" i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с одновременным учетом выпадающих доходов, связанных с введением с 01.01.2018г. НК РФ новой льготной категории - многодетные семьи, а также</a:t>
                      </a:r>
                      <a:r>
                        <a:rPr lang="ru-RU" sz="1200" b="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с оспариванием (уменьшением)  налогоплательщиками кадастровой стоимости объектов недвижимости в установленном законом порядке </a:t>
                      </a:r>
                      <a:r>
                        <a:rPr lang="ru-RU" sz="1400" b="0" i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)</a:t>
                      </a:r>
                      <a:endParaRPr lang="ru-RU" sz="1400" b="0" i="1" kern="1200" dirty="0" smtClean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34,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14,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15,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0166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 доходов от использования муниципального имущества, за счет расчета арендной платы за земли по действующим в 2019г. договорам аренды земли, </a:t>
                      </a:r>
                      <a:r>
                        <a:rPr lang="ru-RU" sz="140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 учета ожидаемых возвратов(зачетов) сумм переплат, сложившихся за период 2016-2018гг., в связи с постановлением</a:t>
                      </a:r>
                      <a:r>
                        <a:rPr lang="ru-RU" sz="140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равительства РФ от 05.05.2017г. № 531</a:t>
                      </a:r>
                      <a:endParaRPr lang="ru-RU" sz="14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43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0,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0,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35819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Изменение  порядка распределения административных штрафов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-6,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1200" dirty="0" smtClean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1200" dirty="0" smtClean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4138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i="0" u="none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Увеличение с 55% до 60% норматива отчислений в местные бюджеты от НВО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002060"/>
                          </a:solidFill>
                          <a:latin typeface="Arial"/>
                          <a:ea typeface="+mn-ea"/>
                          <a:cs typeface="+mn-cs"/>
                        </a:rPr>
                        <a:t>+0,00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1200" dirty="0" smtClean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1200" dirty="0" smtClean="0">
                        <a:solidFill>
                          <a:srgbClr val="00206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2"/>
          <p:cNvSpPr>
            <a:spLocks noGrp="1"/>
          </p:cNvSpPr>
          <p:nvPr>
            <p:ph type="title"/>
          </p:nvPr>
        </p:nvSpPr>
        <p:spPr>
          <a:xfrm>
            <a:off x="1209674" y="167410"/>
            <a:ext cx="7934325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alt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    Изменение налогового и бюджетного законодательства</a:t>
            </a:r>
          </a:p>
        </p:txBody>
      </p:sp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7871637" y="1021781"/>
            <a:ext cx="12723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alt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1182255" y="167410"/>
            <a:ext cx="7685520" cy="1143000"/>
          </a:xfrm>
        </p:spPr>
        <p:txBody>
          <a:bodyPr>
            <a:noAutofit/>
          </a:bodyPr>
          <a:lstStyle/>
          <a:p>
            <a:pPr marL="446088" lvl="0" indent="-446088" eaLnBrk="1" hangingPunct="1">
              <a:lnSpc>
                <a:spcPct val="80000"/>
              </a:lnSpc>
              <a:defRPr/>
            </a:pPr>
            <a:r>
              <a:rPr lang="ru-RU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Структура и динамика поступлений налоговых доходов</a:t>
            </a:r>
            <a:endParaRPr lang="ru-RU" sz="2800" b="1" dirty="0"/>
          </a:p>
        </p:txBody>
      </p:sp>
      <p:pic>
        <p:nvPicPr>
          <p:cNvPr id="4" name="Picture 11" descr="5gor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182255" cy="1477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" name="Диаграмма 16"/>
          <p:cNvGraphicFramePr/>
          <p:nvPr/>
        </p:nvGraphicFramePr>
        <p:xfrm>
          <a:off x="0" y="6429375"/>
          <a:ext cx="4610100" cy="742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Диаграмма 20"/>
          <p:cNvGraphicFramePr/>
          <p:nvPr/>
        </p:nvGraphicFramePr>
        <p:xfrm>
          <a:off x="0" y="2171700"/>
          <a:ext cx="6457950" cy="4686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267450" y="4924425"/>
            <a:ext cx="3086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ru-RU" b="1" dirty="0" smtClean="0">
                <a:solidFill>
                  <a:srgbClr val="002060"/>
                </a:solidFill>
                <a:latin typeface="Arial"/>
                <a:cs typeface="+mn-cs"/>
              </a:rPr>
              <a:t>Структура налоговых доходов в 2020 году</a:t>
            </a:r>
            <a:endParaRPr lang="ru-RU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graphicFrame>
        <p:nvGraphicFramePr>
          <p:cNvPr id="34" name="Диаграмма 33"/>
          <p:cNvGraphicFramePr/>
          <p:nvPr/>
        </p:nvGraphicFramePr>
        <p:xfrm>
          <a:off x="0" y="1847850"/>
          <a:ext cx="4362449" cy="1590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7839075" y="942975"/>
            <a:ext cx="1304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+mn-lt"/>
              </a:rPr>
              <a:t>млн. руб.</a:t>
            </a:r>
            <a:endParaRPr lang="ru-RU" dirty="0">
              <a:latin typeface="+mn-lt"/>
            </a:endParaRPr>
          </a:p>
        </p:txBody>
      </p:sp>
      <p:graphicFrame>
        <p:nvGraphicFramePr>
          <p:cNvPr id="11" name="Диаграмма 10"/>
          <p:cNvGraphicFramePr/>
          <p:nvPr/>
        </p:nvGraphicFramePr>
        <p:xfrm>
          <a:off x="5353050" y="1609724"/>
          <a:ext cx="4572000" cy="35623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953250" y="3019425"/>
            <a:ext cx="1409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002060"/>
                </a:solidFill>
                <a:latin typeface="Arial"/>
                <a:cs typeface="+mn-cs"/>
              </a:rPr>
              <a:t>1609</a:t>
            </a:r>
            <a:endParaRPr lang="ru-RU" sz="4000" b="1" dirty="0">
              <a:solidFill>
                <a:srgbClr val="00206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534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AyM2BhF0iAg8Rb1.lqy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82pUk.HECIl7RnakaI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f8qJ5f0USiPj7ky6tX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21r.g5Mkq9kl_TrNT8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dkfYmCukC_TBNUSBadq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21r.g5Mkq9kl_TrNT8W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Бумажная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Бумажная">
      <a:maj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Бумажная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63000"/>
                <a:tint val="82000"/>
              </a:schemeClr>
              <a:schemeClr val="phClr">
                <a:tint val="10000"/>
                <a:satMod val="400000"/>
              </a:schemeClr>
            </a:duotone>
          </a:blip>
          <a:tile tx="0" ty="0" sx="40000" sy="40000" flip="none" algn="tl"/>
        </a:blipFill>
        <a:blipFill>
          <a:blip xmlns:r="http://schemas.openxmlformats.org/officeDocument/2006/relationships" r:embed="rId1">
            <a:duotone>
              <a:schemeClr val="phClr">
                <a:shade val="40000"/>
              </a:schemeClr>
              <a:schemeClr val="phClr">
                <a:tint val="42000"/>
              </a:schemeClr>
            </a:duotone>
          </a:blip>
          <a:tile tx="0" ty="0" sx="40000" sy="4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635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rotWithShape="0">
              <a:srgbClr val="000000">
                <a:alpha val="50000"/>
              </a:srgbClr>
            </a:outerShdw>
            <a:softEdge rad="12700"/>
          </a:effectLst>
        </a:effectStyle>
        <a:effectStyle>
          <a:effectLst>
            <a:outerShdw blurRad="95000" algn="tl" rotWithShape="0">
              <a:srgbClr val="000000">
                <a:alpha val="50000"/>
              </a:srgbClr>
            </a:outerShdw>
          </a:effectLst>
          <a:scene3d>
            <a:camera prst="orthographicFront"/>
            <a:lightRig rig="soft" dir="t">
              <a:rot lat="0" lon="0" rev="18000000"/>
            </a:lightRig>
          </a:scene3d>
          <a:sp3d prstMaterial="dkEdge">
            <a:bevelT w="73660" h="44450" prst="riblet"/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55000"/>
                <a:alpha val="20000"/>
              </a:schemeClr>
              <a:schemeClr val="phClr">
                <a:tint val="40000"/>
                <a:shade val="90000"/>
                <a:satMod val="60000"/>
                <a:alpha val="20000"/>
              </a:schemeClr>
            </a:duotone>
          </a:blip>
          <a:tile tx="0" ty="0" sx="58000" sy="38000" flip="none" algn="tl"/>
        </a:blipFill>
        <a:blipFill>
          <a:blip xmlns:r="http://schemas.openxmlformats.org/officeDocument/2006/relationships" r:embed="rId2">
            <a:duotone>
              <a:schemeClr val="phClr">
                <a:shade val="12000"/>
                <a:satMod val="240000"/>
              </a:schemeClr>
              <a:schemeClr val="phClr">
                <a:tint val="6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iseño predeterminado">
  <a:themeElements>
    <a:clrScheme name="Эркер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 algn="ctr">
          <a:defRPr sz="12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txDef>
  </a:objectDefaults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381</TotalTime>
  <Words>1773</Words>
  <Application>Microsoft Office PowerPoint</Application>
  <PresentationFormat>Экран (4:3)</PresentationFormat>
  <Paragraphs>566</Paragraphs>
  <Slides>30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3</vt:i4>
      </vt:variant>
      <vt:variant>
        <vt:lpstr>Заголовки слайдов</vt:lpstr>
      </vt:variant>
      <vt:variant>
        <vt:i4>30</vt:i4>
      </vt:variant>
    </vt:vector>
  </HeadingPairs>
  <TitlesOfParts>
    <vt:vector size="33" baseType="lpstr">
      <vt:lpstr>Diseño predeterminado</vt:lpstr>
      <vt:lpstr>Бумажная</vt:lpstr>
      <vt:lpstr>1_Diseño predeterminado</vt:lpstr>
      <vt:lpstr>БЮДЖЕТ  города-курорта Пятигорска на 2020 год и плановый период 2021-2022 годов   решение Думы города Пятигорска от 24 декабря 2019г. №34-42 РД «О бюджете города-курорта Пятигорска на 2020 год и плановый период 2021 и 2022 годов»</vt:lpstr>
      <vt:lpstr>СБАЛАНСИРОВАННОСТЬ</vt:lpstr>
      <vt:lpstr>ОСНОВНЫЕ НАПРАВЛЕНИЯ НАЛОГОВОЙ ПОЛИТИКИ</vt:lpstr>
      <vt:lpstr>ОСНОВНЫЕ НАПРАВЛЕНИЯ БЮДЖЕТНОЙ ПОЛИТИКИ</vt:lpstr>
      <vt:lpstr>Прогноз социально-экономического развития города-курорта Пятигорска</vt:lpstr>
      <vt:lpstr>Объем поступлений налоговых доходов, собираемых на территории города Пятигорска за 2018 год</vt:lpstr>
      <vt:lpstr>     Структура доходов бюджета   города – курорта Пятигорска</vt:lpstr>
      <vt:lpstr>     Изменение налогового и бюджетного законодательства</vt:lpstr>
      <vt:lpstr>Структура и динамика поступлений налоговых доходов</vt:lpstr>
      <vt:lpstr>Структура и динамика поступлений неналоговых доходов</vt:lpstr>
      <vt:lpstr>Структура и динамика безвозмездных поступления</vt:lpstr>
      <vt:lpstr>Основные параметры проекта бюджета</vt:lpstr>
      <vt:lpstr>Динамика и программная структура расходов бюджета</vt:lpstr>
      <vt:lpstr>Национальные проекты в 2020 году</vt:lpstr>
      <vt:lpstr>Муниципальные публичные обязательства города Пятигорска в 2020 год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лучшение жилищных условий молодых семей  в 2019-2020 году (в тыс. руб.)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юджет города Екатеринбурга</dc:title>
  <dc:creator>lapina_ia</dc:creator>
  <cp:lastModifiedBy>superuser</cp:lastModifiedBy>
  <cp:revision>2027</cp:revision>
  <cp:lastPrinted>2019-12-20T08:40:47Z</cp:lastPrinted>
  <dcterms:created xsi:type="dcterms:W3CDTF">2013-11-05T05:51:37Z</dcterms:created>
  <dcterms:modified xsi:type="dcterms:W3CDTF">2019-12-28T08:58:13Z</dcterms:modified>
</cp:coreProperties>
</file>